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media/image39.jpg" ContentType="image/jpg"/>
  <Override PartName="/ppt/media/image40.jpg" ContentType="image/jpg"/>
  <Override PartName="/ppt/media/image41.jpg" ContentType="image/jpg"/>
  <Override PartName="/ppt/media/image42.jpg" ContentType="image/jpg"/>
  <Override PartName="/ppt/media/image43.jpg" ContentType="image/jpg"/>
  <Override PartName="/ppt/media/image44.jpg" ContentType="image/jpg"/>
  <Override PartName="/ppt/media/image45.jpg" ContentType="image/jpg"/>
  <Override PartName="/ppt/media/image46.jpg" ContentType="image/jpg"/>
  <Override PartName="/ppt/media/image49.jpg" ContentType="image/jpg"/>
  <Override PartName="/ppt/media/image50.jpg" ContentType="image/jpg"/>
  <Override PartName="/ppt/media/image51.jpg" ContentType="image/jpg"/>
  <Override PartName="/ppt/tags/tag14.xml" ContentType="application/vnd.openxmlformats-officedocument.presentationml.tags+xml"/>
  <Override PartName="/ppt/notesSlides/notesSlide18.xml" ContentType="application/vnd.openxmlformats-officedocument.presentationml.notesSlide+xml"/>
  <Override PartName="/ppt/tags/tag15.xml" ContentType="application/vnd.openxmlformats-officedocument.presentationml.tags+xml"/>
  <Override PartName="/ppt/notesSlides/notesSlide19.xml" ContentType="application/vnd.openxmlformats-officedocument.presentationml.notesSlide+xml"/>
  <Override PartName="/ppt/tags/tag16.xml" ContentType="application/vnd.openxmlformats-officedocument.presentationml.tags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25"/>
  </p:notesMasterIdLst>
  <p:sldIdLst>
    <p:sldId id="269" r:id="rId5"/>
    <p:sldId id="297" r:id="rId6"/>
    <p:sldId id="266" r:id="rId7"/>
    <p:sldId id="441" r:id="rId8"/>
    <p:sldId id="433" r:id="rId9"/>
    <p:sldId id="442" r:id="rId10"/>
    <p:sldId id="443" r:id="rId11"/>
    <p:sldId id="444" r:id="rId12"/>
    <p:sldId id="446" r:id="rId13"/>
    <p:sldId id="452" r:id="rId14"/>
    <p:sldId id="447" r:id="rId15"/>
    <p:sldId id="458" r:id="rId16"/>
    <p:sldId id="461" r:id="rId17"/>
    <p:sldId id="419" r:id="rId18"/>
    <p:sldId id="436" r:id="rId19"/>
    <p:sldId id="448" r:id="rId20"/>
    <p:sldId id="449" r:id="rId21"/>
    <p:sldId id="451" r:id="rId22"/>
    <p:sldId id="450" r:id="rId23"/>
    <p:sldId id="453" r:id="rId24"/>
  </p:sldIdLst>
  <p:sldSz cx="9144000" cy="6858000" type="screen4x3"/>
  <p:notesSz cx="6735763" cy="9866313"/>
  <p:custDataLst>
    <p:tags r:id="rId26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12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007864"/>
    <a:srgbClr val="FFFFFF"/>
    <a:srgbClr val="FFFFCC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5A82AB-9464-EFD6-A6F7-6DF31A4B9FE3}" v="1" dt="2023-05-26T05:13:40.262"/>
    <p1510:client id="{1E7DEB2A-23D2-AD57-6578-79FDA024367E}" v="22" dt="2023-05-11T10:02:28.263"/>
    <p1510:client id="{31D92AB7-9CB7-5938-9CA7-FB0A37688265}" v="37" dt="2023-05-08T08:27:04.393"/>
    <p1510:client id="{2FA242BB-6755-986C-1C06-794F39B73ECB}" v="54" dt="2023-05-08T07:50:09.634"/>
    <p1510:client id="{6C54ED1F-0B5E-DF8F-4A85-20A7E117ECF5}" v="4" dt="2023-05-18T06:24:41.533"/>
    <p1510:client id="{E49796F7-5C2E-F7F5-6BDE-4726A68B809C}" v="98" dt="2023-05-08T04:28:28.165"/>
    <p1510:client id="{7F00658B-1EDF-8B37-432F-398FFF44D4F9}" v="1" dt="2023-04-25T07:52:55.514"/>
    <p1510:client id="{EEB3ACB6-4CB6-DA95-2FFD-254602A37EFD}" v="772" dt="2023-04-25T06:02:36.01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91" autoAdjust="0"/>
    <p:restoredTop sz="81499" autoAdjust="0"/>
  </p:normalViewPr>
  <p:slideViewPr>
    <p:cSldViewPr snapToObjects="1">
      <p:cViewPr varScale="1">
        <p:scale>
          <a:sx n="93" d="100"/>
          <a:sy n="93" d="100"/>
        </p:scale>
        <p:origin x="2022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78" d="100"/>
          <a:sy n="78" d="100"/>
        </p:scale>
        <p:origin x="399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4/5/1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15553" y="108620"/>
            <a:ext cx="5904656" cy="445385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271537" y="4748164"/>
            <a:ext cx="6192688" cy="4865512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sz="1200" b="0" dirty="0">
              <a:latin typeface="Meiryo UI"/>
              <a:ea typeface="Meiryo UI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37103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43358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940926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1363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ja-JP" altLang="en-US" dirty="0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499454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>
              <a:latin typeface="Meiryo UI"/>
              <a:ea typeface="Meiryo UI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730143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20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870950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4239355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7811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indent="9207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77066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ja-JP" dirty="0">
              <a:latin typeface="Yu Gothic" panose="020F0502020204030204"/>
              <a:ea typeface="Yu Gothic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indent="9207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898313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ja-JP" altLang="en-US" dirty="0">
              <a:latin typeface="Meiryo UI"/>
              <a:ea typeface="Meiryo UI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995486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sz="1200" b="0" dirty="0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67476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322288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indent="9207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611557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indent="9207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610266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60848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37" userDrawn="1">
          <p15:clr>
            <a:srgbClr val="FBAE40"/>
          </p15:clr>
        </p15:guide>
        <p15:guide id="24" pos="4014" userDrawn="1">
          <p15:clr>
            <a:srgbClr val="FBAE40"/>
          </p15:clr>
        </p15:guide>
        <p15:guide id="25" pos="2290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310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5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5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8.png"/><Relationship Id="rId5" Type="http://schemas.openxmlformats.org/officeDocument/2006/relationships/image" Target="../media/image25.png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8.png"/><Relationship Id="rId5" Type="http://schemas.openxmlformats.org/officeDocument/2006/relationships/image" Target="../media/image26.png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7.jpg"/><Relationship Id="rId5" Type="http://schemas.openxmlformats.org/officeDocument/2006/relationships/image" Target="../media/image35.png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35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g"/><Relationship Id="rId13" Type="http://schemas.openxmlformats.org/officeDocument/2006/relationships/image" Target="../media/image46.jpg"/><Relationship Id="rId18" Type="http://schemas.openxmlformats.org/officeDocument/2006/relationships/oleObject" Target="../embeddings/oleObject5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0.jpg"/><Relationship Id="rId12" Type="http://schemas.openxmlformats.org/officeDocument/2006/relationships/image" Target="../media/image45.jpg"/><Relationship Id="rId17" Type="http://schemas.openxmlformats.org/officeDocument/2006/relationships/image" Target="../media/image50.jpg"/><Relationship Id="rId2" Type="http://schemas.openxmlformats.org/officeDocument/2006/relationships/tags" Target="../tags/tag13.xml"/><Relationship Id="rId16" Type="http://schemas.openxmlformats.org/officeDocument/2006/relationships/image" Target="../media/image49.jpg"/><Relationship Id="rId20" Type="http://schemas.openxmlformats.org/officeDocument/2006/relationships/image" Target="../media/image51.jp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9.jpg"/><Relationship Id="rId11" Type="http://schemas.openxmlformats.org/officeDocument/2006/relationships/image" Target="../media/image44.jpg"/><Relationship Id="rId5" Type="http://schemas.openxmlformats.org/officeDocument/2006/relationships/image" Target="../media/image35.png"/><Relationship Id="rId15" Type="http://schemas.openxmlformats.org/officeDocument/2006/relationships/image" Target="../media/image48.png"/><Relationship Id="rId10" Type="http://schemas.openxmlformats.org/officeDocument/2006/relationships/image" Target="../media/image43.jpg"/><Relationship Id="rId19" Type="http://schemas.openxmlformats.org/officeDocument/2006/relationships/image" Target="../media/image1.emf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42.jpg"/><Relationship Id="rId14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5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2.png"/><Relationship Id="rId5" Type="http://schemas.openxmlformats.org/officeDocument/2006/relationships/image" Target="../media/image55.png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12" Type="http://schemas.openxmlformats.org/officeDocument/2006/relationships/image" Target="../media/image2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7.png"/><Relationship Id="rId11" Type="http://schemas.openxmlformats.org/officeDocument/2006/relationships/image" Target="../media/image8.png"/><Relationship Id="rId5" Type="http://schemas.openxmlformats.org/officeDocument/2006/relationships/image" Target="../media/image56.png"/><Relationship Id="rId10" Type="http://schemas.openxmlformats.org/officeDocument/2006/relationships/image" Target="../media/image7.jp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11" Type="http://schemas.openxmlformats.org/officeDocument/2006/relationships/image" Target="../media/image9.png"/><Relationship Id="rId5" Type="http://schemas.openxmlformats.org/officeDocument/2006/relationships/image" Target="../media/image5.png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2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12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png"/><Relationship Id="rId11" Type="http://schemas.openxmlformats.org/officeDocument/2006/relationships/image" Target="../media/image8.png"/><Relationship Id="rId5" Type="http://schemas.openxmlformats.org/officeDocument/2006/relationships/image" Target="../media/image13.png"/><Relationship Id="rId10" Type="http://schemas.openxmlformats.org/officeDocument/2006/relationships/image" Target="../media/image7.jp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.emf"/><Relationship Id="rId1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png"/><Relationship Id="rId11" Type="http://schemas.openxmlformats.org/officeDocument/2006/relationships/image" Target="../media/image19.png"/><Relationship Id="rId5" Type="http://schemas.openxmlformats.org/officeDocument/2006/relationships/image" Target="../media/image17.png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12" Type="http://schemas.openxmlformats.org/officeDocument/2006/relationships/image" Target="../media/image2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3.png"/><Relationship Id="rId11" Type="http://schemas.openxmlformats.org/officeDocument/2006/relationships/image" Target="../media/image8.png"/><Relationship Id="rId5" Type="http://schemas.openxmlformats.org/officeDocument/2006/relationships/image" Target="../media/image22.png"/><Relationship Id="rId10" Type="http://schemas.openxmlformats.org/officeDocument/2006/relationships/image" Target="../media/image7.jp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90C2B031-4D2F-42B7-BC17-51545E6A4DB4}"/>
              </a:ext>
            </a:extLst>
          </p:cNvPr>
          <p:cNvGrpSpPr/>
          <p:nvPr/>
        </p:nvGrpSpPr>
        <p:grpSpPr>
          <a:xfrm>
            <a:off x="947485" y="2105856"/>
            <a:ext cx="7200000" cy="1113738"/>
            <a:chOff x="767807" y="1462744"/>
            <a:chExt cx="7200000" cy="1113738"/>
          </a:xfrm>
        </p:grpSpPr>
        <p:sp>
          <p:nvSpPr>
            <p:cNvPr id="2" name="角丸四角形 1"/>
            <p:cNvSpPr/>
            <p:nvPr/>
          </p:nvSpPr>
          <p:spPr>
            <a:xfrm>
              <a:off x="767807" y="1462744"/>
              <a:ext cx="7200000" cy="1113738"/>
            </a:xfrm>
            <a:prstGeom prst="roundRect">
              <a:avLst>
                <a:gd name="adj" fmla="val 9790"/>
              </a:avLst>
            </a:prstGeom>
            <a:solidFill>
              <a:srgbClr val="00965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3" name="サブタイトル 2"/>
            <p:cNvSpPr txBox="1">
              <a:spLocks/>
            </p:cNvSpPr>
            <p:nvPr/>
          </p:nvSpPr>
          <p:spPr>
            <a:xfrm>
              <a:off x="1183449" y="1692108"/>
              <a:ext cx="6557144" cy="656772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Tx/>
                <a:buNone/>
                <a:defRPr kumimoji="1" sz="2000" b="1" i="0" kern="1200">
                  <a:solidFill>
                    <a:schemeClr val="tx1"/>
                  </a:solidFill>
                  <a:latin typeface="Meiryo" charset="-128"/>
                  <a:ea typeface="Meiryo" charset="-128"/>
                  <a:cs typeface="Meiryo" charset="-128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kumimoji="1" sz="1600" b="1" i="0" kern="1200">
                  <a:solidFill>
                    <a:schemeClr val="tx1"/>
                  </a:solidFill>
                  <a:latin typeface="Meiryo" charset="-128"/>
                  <a:ea typeface="Meiryo" charset="-128"/>
                  <a:cs typeface="Meiryo" charset="-128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600" b="1" i="0" kern="1200">
                  <a:solidFill>
                    <a:schemeClr val="tx1"/>
                  </a:solidFill>
                  <a:latin typeface="Meiryo" charset="-128"/>
                  <a:ea typeface="Meiryo" charset="-128"/>
                  <a:cs typeface="Meiryo" charset="-128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800" b="1" i="0" kern="1200">
                  <a:solidFill>
                    <a:schemeClr val="tx1"/>
                  </a:solidFill>
                  <a:latin typeface="Meiryo" charset="-128"/>
                  <a:ea typeface="Meiryo" charset="-128"/>
                  <a:cs typeface="Meiryo" charset="-128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800" b="1" i="0" kern="1200">
                  <a:solidFill>
                    <a:schemeClr val="tx1"/>
                  </a:solidFill>
                  <a:latin typeface="Meiryo" charset="-128"/>
                  <a:ea typeface="Meiryo" charset="-128"/>
                  <a:cs typeface="Meiryo" charset="-128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ja-JP" altLang="en-US" sz="4800" dirty="0">
                  <a:solidFill>
                    <a:schemeClr val="bg1"/>
                  </a:solidFill>
                </a:rPr>
                <a:t>電話・カメラを使おう</a:t>
              </a:r>
            </a:p>
          </p:txBody>
        </p:sp>
      </p:grp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  <p:pic>
        <p:nvPicPr>
          <p:cNvPr id="7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DA662F3F-FA1A-4147-BDE7-C58D2E3A5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3717032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図形グループ 7"/>
          <p:cNvGrpSpPr/>
          <p:nvPr/>
        </p:nvGrpSpPr>
        <p:grpSpPr>
          <a:xfrm>
            <a:off x="518390" y="198514"/>
            <a:ext cx="2160000" cy="813477"/>
            <a:chOff x="518390" y="198514"/>
            <a:chExt cx="2160000" cy="813477"/>
          </a:xfrm>
        </p:grpSpPr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C666ED79-23D4-4339-9F1D-786E0861D5BA}"/>
                </a:ext>
              </a:extLst>
            </p:cNvPr>
            <p:cNvSpPr txBox="1"/>
            <p:nvPr/>
          </p:nvSpPr>
          <p:spPr>
            <a:xfrm>
              <a:off x="518390" y="704214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4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スマートフォン</a:t>
              </a:r>
              <a:r>
                <a:rPr kumimoji="1" lang="ja-JP" altLang="en-US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初心者編</a:t>
              </a:r>
              <a:r>
                <a:rPr kumimoji="1" lang="en-US" altLang="ja-JP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 </a:t>
              </a:r>
              <a:endParaRPr kumimoji="1"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A9639427-42FE-48A2-AFC9-6B5780ABB3DA}"/>
                </a:ext>
              </a:extLst>
            </p:cNvPr>
            <p:cNvSpPr txBox="1"/>
            <p:nvPr/>
          </p:nvSpPr>
          <p:spPr>
            <a:xfrm>
              <a:off x="620206" y="220542"/>
              <a:ext cx="11494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ja-JP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Android</a:t>
              </a:r>
              <a:endPara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3" name="角丸四角形 12"/>
            <p:cNvSpPr/>
            <p:nvPr/>
          </p:nvSpPr>
          <p:spPr>
            <a:xfrm>
              <a:off x="620206" y="198514"/>
              <a:ext cx="1152000" cy="369332"/>
            </a:xfrm>
            <a:prstGeom prst="roundRect">
              <a:avLst/>
            </a:prstGeom>
            <a:noFill/>
            <a:ln w="19050">
              <a:solidFill>
                <a:srgbClr val="00965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10638EB-4EBB-48D8-9019-3994E724A9AD}"/>
              </a:ext>
            </a:extLst>
          </p:cNvPr>
          <p:cNvSpPr txBox="1"/>
          <p:nvPr/>
        </p:nvSpPr>
        <p:spPr>
          <a:xfrm>
            <a:off x="7740592" y="6077743"/>
            <a:ext cx="216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>
            <a:extLst>
              <a:ext uri="{FF2B5EF4-FFF2-40B4-BE49-F238E27FC236}">
                <a16:creationId xmlns:a16="http://schemas.microsoft.com/office/drawing/2014/main" id="{87889AB0-46D4-C5DE-CE67-A1D976D58F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548" y="2653356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E287269D-5D66-69E6-FEA8-E02CE0F599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29" y="2653358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D2BF2104-906A-86B5-2E27-6654C357F1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834" y="2653358"/>
            <a:ext cx="1642826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新しく連絡先を登録す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F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連絡先に新しく連絡先を登録する方法で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570244"/>
            <a:chOff x="883255" y="1537092"/>
            <a:chExt cx="7956676" cy="57024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電話の機能を起動し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連絡先　　を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「新しい連絡先を作成」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名前等の登録情報を記入したら　「保存」を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2219059" y="5598401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011845" y="3068960"/>
            <a:ext cx="992203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888410" y="2780928"/>
            <a:ext cx="266438" cy="23700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A24CECB0-8E55-1D69-81F7-AAA4688BC5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4005" y="2283727"/>
            <a:ext cx="288364" cy="268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82301205-AAA0-5B82-2A4B-2B655D43F50A}"/>
              </a:ext>
            </a:extLst>
          </p:cNvPr>
          <p:cNvSpPr/>
          <p:nvPr/>
        </p:nvSpPr>
        <p:spPr>
          <a:xfrm>
            <a:off x="6813933" y="3992183"/>
            <a:ext cx="1075841" cy="12770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5" name="図形グループ 51">
            <a:extLst>
              <a:ext uri="{FF2B5EF4-FFF2-40B4-BE49-F238E27FC236}">
                <a16:creationId xmlns:a16="http://schemas.microsoft.com/office/drawing/2014/main" id="{B0F75BA4-F851-B371-6C21-8187BA2E7691}"/>
              </a:ext>
            </a:extLst>
          </p:cNvPr>
          <p:cNvGrpSpPr/>
          <p:nvPr/>
        </p:nvGrpSpPr>
        <p:grpSpPr>
          <a:xfrm>
            <a:off x="8093988" y="2871433"/>
            <a:ext cx="296586" cy="293005"/>
            <a:chOff x="5101121" y="3995693"/>
            <a:chExt cx="296586" cy="293005"/>
          </a:xfrm>
        </p:grpSpPr>
        <p:sp>
          <p:nvSpPr>
            <p:cNvPr id="6" name="円/楕円 52">
              <a:extLst>
                <a:ext uri="{FF2B5EF4-FFF2-40B4-BE49-F238E27FC236}">
                  <a16:creationId xmlns:a16="http://schemas.microsoft.com/office/drawing/2014/main" id="{0FDEF35D-457C-0630-8478-A8BD8D2B9C9B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" name="フリーフォーム 58">
              <a:extLst>
                <a:ext uri="{FF2B5EF4-FFF2-40B4-BE49-F238E27FC236}">
                  <a16:creationId xmlns:a16="http://schemas.microsoft.com/office/drawing/2014/main" id="{FB8941F9-EE24-28F7-47A2-31E23436D68F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6B7164DC-B367-AD50-FFBB-EDC29ED2621B}"/>
              </a:ext>
            </a:extLst>
          </p:cNvPr>
          <p:cNvSpPr txBox="1"/>
          <p:nvPr/>
        </p:nvSpPr>
        <p:spPr>
          <a:xfrm>
            <a:off x="6726470" y="4864253"/>
            <a:ext cx="1290779" cy="46166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algn="l"/>
            <a:r>
              <a:rPr lang="ja-JP" altLang="en-US" sz="1200" b="1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名前、電話番号</a:t>
            </a:r>
          </a:p>
          <a:p>
            <a:pPr algn="l"/>
            <a:r>
              <a:rPr lang="ja-JP" altLang="en-US" sz="1200" b="1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等を入力</a:t>
            </a:r>
            <a:endParaRPr lang="ja-JP" altLang="ja-JP" sz="1200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6685701" y="4141286"/>
            <a:ext cx="1372319" cy="174801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4" name="図形グループ 60">
            <a:extLst>
              <a:ext uri="{FF2B5EF4-FFF2-40B4-BE49-F238E27FC236}">
                <a16:creationId xmlns:a16="http://schemas.microsoft.com/office/drawing/2014/main" id="{35370216-A82F-EE6A-8693-06A87AB90D0D}"/>
              </a:ext>
            </a:extLst>
          </p:cNvPr>
          <p:cNvGrpSpPr/>
          <p:nvPr/>
        </p:nvGrpSpPr>
        <p:grpSpPr>
          <a:xfrm>
            <a:off x="6516548" y="4009573"/>
            <a:ext cx="296586" cy="293005"/>
            <a:chOff x="4232441" y="3995693"/>
            <a:chExt cx="296586" cy="293005"/>
          </a:xfrm>
        </p:grpSpPr>
        <p:sp>
          <p:nvSpPr>
            <p:cNvPr id="15" name="円/楕円 71">
              <a:extLst>
                <a:ext uri="{FF2B5EF4-FFF2-40B4-BE49-F238E27FC236}">
                  <a16:creationId xmlns:a16="http://schemas.microsoft.com/office/drawing/2014/main" id="{37C84A72-9FA8-956A-BBD9-CFFB543991E0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6" name="フリーフォーム 72">
              <a:extLst>
                <a:ext uri="{FF2B5EF4-FFF2-40B4-BE49-F238E27FC236}">
                  <a16:creationId xmlns:a16="http://schemas.microsoft.com/office/drawing/2014/main" id="{6DFEB2C3-AA4E-26A9-B34E-D618C6A404D6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7" name="図形グループ 51">
            <a:extLst>
              <a:ext uri="{FF2B5EF4-FFF2-40B4-BE49-F238E27FC236}">
                <a16:creationId xmlns:a16="http://schemas.microsoft.com/office/drawing/2014/main" id="{A65F20A9-0006-09C5-0B00-00DF0699DB9D}"/>
              </a:ext>
            </a:extLst>
          </p:cNvPr>
          <p:cNvGrpSpPr/>
          <p:nvPr/>
        </p:nvGrpSpPr>
        <p:grpSpPr>
          <a:xfrm>
            <a:off x="7164288" y="2236858"/>
            <a:ext cx="228754" cy="204716"/>
            <a:chOff x="5101121" y="3995693"/>
            <a:chExt cx="296586" cy="293005"/>
          </a:xfrm>
        </p:grpSpPr>
        <p:sp>
          <p:nvSpPr>
            <p:cNvPr id="18" name="円/楕円 52">
              <a:extLst>
                <a:ext uri="{FF2B5EF4-FFF2-40B4-BE49-F238E27FC236}">
                  <a16:creationId xmlns:a16="http://schemas.microsoft.com/office/drawing/2014/main" id="{6300F32C-A181-D556-5D05-1DF1F4D9D996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9" name="フリーフォーム 58">
              <a:extLst>
                <a:ext uri="{FF2B5EF4-FFF2-40B4-BE49-F238E27FC236}">
                  <a16:creationId xmlns:a16="http://schemas.microsoft.com/office/drawing/2014/main" id="{47DFADAB-B725-CE32-2DD6-A8C7B24CD098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7712486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D0F16FAF-0E38-F4C3-2FC0-3A67D5B697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2703" y="2664310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E287269D-5D66-69E6-FEA8-E02CE0F599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1208" y="2658516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B1A84313-CAD1-2761-C708-55F75D276A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57" y="2648658"/>
            <a:ext cx="1642826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675056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着信履歴に残った通話先を登録す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G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sz="2400" dirty="0"/>
              <a:t>着信履歴に残った通話先を使って登録する方法で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8014104" cy="738664"/>
            <a:chOff x="883255" y="1537092"/>
            <a:chExt cx="8014104" cy="73866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電話の機能を起動し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通話履歴　　　を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登録したい相手を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選択し、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08686" y="1537092"/>
              <a:ext cx="2488673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/>
                  <a:ea typeface="メイリオ"/>
                </a:rPr>
                <a:t>「新しい連絡先を作成」を押すと登録画面に移るので同様に登録してください</a:t>
              </a:r>
              <a:endParaRPr lang="en-US" altLang="ja-JP" sz="14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653472" y="5602782"/>
            <a:ext cx="309894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028419" y="3569252"/>
            <a:ext cx="759605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6552785" y="3845460"/>
            <a:ext cx="1244360" cy="234171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8BEC506F-4EE0-8673-0DF2-8CF43CBD3A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127" y="2231079"/>
            <a:ext cx="497617" cy="364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26124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7590A428-0A2B-489E-9886-FE6E20A1ABF8}"/>
              </a:ext>
            </a:extLst>
          </p:cNvPr>
          <p:cNvSpPr txBox="1"/>
          <p:nvPr/>
        </p:nvSpPr>
        <p:spPr>
          <a:xfrm>
            <a:off x="491405" y="1380935"/>
            <a:ext cx="83564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リレーサービスとは、聴覚や発話に困難のある人</a:t>
            </a:r>
            <a:r>
              <a:rPr lang="en-US" altLang="ja-JP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(</a:t>
            </a:r>
            <a:r>
              <a:rPr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きこえない人</a:t>
            </a:r>
            <a:r>
              <a:rPr lang="en-US" altLang="ja-JP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)</a:t>
            </a:r>
            <a:r>
              <a:rPr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、きこえる人</a:t>
            </a:r>
            <a:r>
              <a:rPr lang="en-US" altLang="ja-JP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(</a:t>
            </a:r>
            <a:r>
              <a:rPr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聴覚障害者等以外の人</a:t>
            </a:r>
            <a:r>
              <a:rPr lang="en-US" altLang="ja-JP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)</a:t>
            </a:r>
            <a:r>
              <a:rPr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の会話を、通訳オペレータが「手話」または「文字」と「音声」を通訳することにより、電話で即時双方向につなぐサービスです。</a:t>
            </a:r>
            <a:endParaRPr kumimoji="1" lang="ja-JP" altLang="en-US" sz="2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1" name="Picture 2" descr="電話リレーサービスの利用シーンを描いたイラスト。画面左側では、男性がスマートホンを置いて手話で「今日の〇時空いてますか？」と尋ねています。中央には、通訳オペレータが手話で応答している様子が映っています。画面右側では、女性が携帯電話で話しており、「確認して折り返します」と答えています。このイラストは、聴覚や発話に困難のある人と、きこえる人との間での通信を支援するサービスの流れを説明しています。">
            <a:extLst>
              <a:ext uri="{FF2B5EF4-FFF2-40B4-BE49-F238E27FC236}">
                <a16:creationId xmlns:a16="http://schemas.microsoft.com/office/drawing/2014/main" id="{70D99843-C846-4FAA-BCAE-9BDF724720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8925" y="3140968"/>
            <a:ext cx="5082988" cy="312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0E6CD24F-2998-4197-ADD5-32BA13B15B94}"/>
              </a:ext>
            </a:extLst>
          </p:cNvPr>
          <p:cNvSpPr txBox="1"/>
          <p:nvPr/>
        </p:nvSpPr>
        <p:spPr>
          <a:xfrm>
            <a:off x="1691680" y="2960269"/>
            <a:ext cx="62014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聴覚や発話に困難のある方が本サービスを利用できます。</a:t>
            </a:r>
            <a:endParaRPr kumimoji="1"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5214219C-B271-4878-B7DB-9619DFB50B6B}"/>
              </a:ext>
            </a:extLst>
          </p:cNvPr>
          <p:cNvSpPr/>
          <p:nvPr/>
        </p:nvSpPr>
        <p:spPr>
          <a:xfrm>
            <a:off x="5361546" y="5840044"/>
            <a:ext cx="15696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200" dirty="0"/>
              <a:t>※</a:t>
            </a:r>
            <a:r>
              <a:rPr lang="ja-JP" altLang="en-US" sz="1200" dirty="0"/>
              <a:t>サービス紹介動画</a:t>
            </a:r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ABA9DABD-4101-4A20-96A5-AE85DC380F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174" y="5549159"/>
            <a:ext cx="858768" cy="858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4EF88488-8676-4E66-B011-0AB3F7D7CC27}"/>
              </a:ext>
            </a:extLst>
          </p:cNvPr>
          <p:cNvSpPr/>
          <p:nvPr/>
        </p:nvSpPr>
        <p:spPr>
          <a:xfrm>
            <a:off x="5394482" y="5988398"/>
            <a:ext cx="21077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200" dirty="0"/>
              <a:t>https://youtu.be/Zaz18gpO8r4</a:t>
            </a:r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C626789F-CCD4-4B79-88B4-DF41A97A1694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リレーサービスとは</a:t>
            </a:r>
            <a:endParaRPr kumimoji="0" lang="ja-JP" altLang="en-US" kern="0" dirty="0">
              <a:latin typeface="Meiryo"/>
              <a:ea typeface="Meiryo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2E8740D-5564-4D46-8413-DBB8055C27B6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H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45929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A0EE1865-00E6-40FF-9636-8D573A607842}"/>
              </a:ext>
            </a:extLst>
          </p:cNvPr>
          <p:cNvSpPr txBox="1"/>
          <p:nvPr/>
        </p:nvSpPr>
        <p:spPr>
          <a:xfrm>
            <a:off x="489785" y="1439374"/>
            <a:ext cx="787908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リレーサービスの詳細、登録方法はホームページを</a:t>
            </a:r>
            <a:endParaRPr kumimoji="1" lang="en-US" altLang="ja-JP" sz="2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ご覧ください。</a:t>
            </a:r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B203FEA9-ECEE-4C98-ABDC-B73C6A143E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096" y="2286016"/>
            <a:ext cx="6291071" cy="2635181"/>
          </a:xfrm>
          <a:prstGeom prst="rect">
            <a:avLst/>
          </a:prstGeom>
        </p:spPr>
      </p:pic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DF718B0B-B5CB-4C49-B80B-36EFED53DF6A}"/>
              </a:ext>
            </a:extLst>
          </p:cNvPr>
          <p:cNvSpPr/>
          <p:nvPr/>
        </p:nvSpPr>
        <p:spPr>
          <a:xfrm>
            <a:off x="1272934" y="5127285"/>
            <a:ext cx="4224233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【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運営団体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】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総務大臣指定 電話リレーサービス提供機関 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一般財団法人日本財団電話リレーサービス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：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03-6275-0912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E1522E6B-E485-4326-AB36-C62F94ACC0C4}"/>
              </a:ext>
            </a:extLst>
          </p:cNvPr>
          <p:cNvSpPr/>
          <p:nvPr/>
        </p:nvSpPr>
        <p:spPr>
          <a:xfrm>
            <a:off x="6954200" y="2286016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200" dirty="0"/>
              <a:t>ホームページ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1E74D945-D20D-4190-968E-EADBFF9F93C7}"/>
              </a:ext>
            </a:extLst>
          </p:cNvPr>
          <p:cNvSpPr/>
          <p:nvPr/>
        </p:nvSpPr>
        <p:spPr>
          <a:xfrm>
            <a:off x="6682185" y="3375613"/>
            <a:ext cx="168668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200" dirty="0"/>
              <a:t>https://www.nftrs.or.jp/</a:t>
            </a:r>
          </a:p>
        </p:txBody>
      </p:sp>
      <p:pic>
        <p:nvPicPr>
          <p:cNvPr id="15" name="図 14">
            <a:extLst>
              <a:ext uri="{FF2B5EF4-FFF2-40B4-BE49-F238E27FC236}">
                <a16:creationId xmlns:a16="http://schemas.microsoft.com/office/drawing/2014/main" id="{90975BD9-C693-4038-9E77-C711153353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2622" y="4341632"/>
            <a:ext cx="1740070" cy="390431"/>
          </a:xfrm>
          <a:prstGeom prst="rect">
            <a:avLst/>
          </a:prstGeom>
        </p:spPr>
      </p:pic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0D71BB02-C89A-48D7-A251-6D35094CC38F}"/>
              </a:ext>
            </a:extLst>
          </p:cNvPr>
          <p:cNvSpPr/>
          <p:nvPr/>
        </p:nvSpPr>
        <p:spPr>
          <a:xfrm>
            <a:off x="6624459" y="5626445"/>
            <a:ext cx="18467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ja-JP" altLang="en-US" sz="1200" dirty="0"/>
              <a:t>https://nftrs.or.jp/contact/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82665E69-40A2-402C-A541-410D78EE2F21}"/>
              </a:ext>
            </a:extLst>
          </p:cNvPr>
          <p:cNvSpPr/>
          <p:nvPr/>
        </p:nvSpPr>
        <p:spPr>
          <a:xfrm>
            <a:off x="6626167" y="5842418"/>
            <a:ext cx="131318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100" dirty="0"/>
              <a:t>※</a:t>
            </a:r>
            <a:r>
              <a:rPr lang="ja-JP" altLang="en-US" sz="1100" dirty="0"/>
              <a:t>年末年始は除く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EC568994-E97F-4DDB-A77D-F2EEA0DA28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7050" y="2506940"/>
            <a:ext cx="862297" cy="862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>
            <a:extLst>
              <a:ext uri="{FF2B5EF4-FFF2-40B4-BE49-F238E27FC236}">
                <a16:creationId xmlns:a16="http://schemas.microsoft.com/office/drawing/2014/main" id="{AAE12488-6818-4BC7-BA3B-40F20F5B8F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5738" y="4769195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タイトル 1">
            <a:extLst>
              <a:ext uri="{FF2B5EF4-FFF2-40B4-BE49-F238E27FC236}">
                <a16:creationId xmlns:a16="http://schemas.microsoft.com/office/drawing/2014/main" id="{61DEC289-17B7-47B2-9E7A-0614C708CCD4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716093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リレーサービスの詳細･登録方法</a:t>
            </a:r>
            <a:endParaRPr kumimoji="0" lang="ja-JP" altLang="en-US" kern="0" dirty="0">
              <a:latin typeface="Meiryo"/>
              <a:ea typeface="Meiryo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38FBAC2-80BF-4BEF-AAE6-AC110BD64115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I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7481205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91680" y="4337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カメラの使い方</a:t>
            </a:r>
          </a:p>
        </p:txBody>
      </p:sp>
      <p:pic>
        <p:nvPicPr>
          <p:cNvPr id="4" name="Picture 2" descr="スマートフォンで料理の写真を撮影する人のイラスト">
            <a:extLst>
              <a:ext uri="{FF2B5EF4-FFF2-40B4-BE49-F238E27FC236}">
                <a16:creationId xmlns:a16="http://schemas.microsoft.com/office/drawing/2014/main" id="{C400815E-9777-424A-90C9-E3FEE55E5A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99" y="3756024"/>
            <a:ext cx="1656000" cy="15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7F5366D1-9382-669E-4137-F83A639AF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894" y="2658055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pic>
        <p:nvPicPr>
          <p:cNvPr id="39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AEE6B222-51BB-AACB-9DB2-234FAF863D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52130" y="2438401"/>
            <a:ext cx="3839735" cy="3839735"/>
          </a:xfrm>
          <a:prstGeom prst="rect">
            <a:avLst/>
          </a:prstGeom>
        </p:spPr>
      </p:pic>
      <p:pic>
        <p:nvPicPr>
          <p:cNvPr id="43" name="図 42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33CF09CA-70DF-D959-CB49-A1D43995974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11996" y="2731690"/>
            <a:ext cx="1534337" cy="3204117"/>
          </a:xfrm>
          <a:prstGeom prst="rect">
            <a:avLst/>
          </a:prstGeom>
        </p:spPr>
      </p:pic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A7843C16-AEE4-040A-F2A2-9ED5FE470AA0}"/>
              </a:ext>
            </a:extLst>
          </p:cNvPr>
          <p:cNvSpPr/>
          <p:nvPr/>
        </p:nvSpPr>
        <p:spPr>
          <a:xfrm>
            <a:off x="7175024" y="5456864"/>
            <a:ext cx="360040" cy="34817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C394ADDC-4B0C-7F6B-24B7-BA36E472BEF0}"/>
              </a:ext>
            </a:extLst>
          </p:cNvPr>
          <p:cNvSpPr/>
          <p:nvPr/>
        </p:nvSpPr>
        <p:spPr>
          <a:xfrm>
            <a:off x="5004047" y="5085184"/>
            <a:ext cx="259829" cy="2520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6" name="図 46">
            <a:extLst>
              <a:ext uri="{FF2B5EF4-FFF2-40B4-BE49-F238E27FC236}">
                <a16:creationId xmlns:a16="http://schemas.microsoft.com/office/drawing/2014/main" id="{FAAB380D-492A-AB60-10ED-499F84A52E6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99866" y="2678500"/>
            <a:ext cx="134977" cy="134977"/>
          </a:xfrm>
          <a:prstGeom prst="rect">
            <a:avLst/>
          </a:prstGeom>
        </p:spPr>
      </p:pic>
      <p:sp>
        <p:nvSpPr>
          <p:cNvPr id="51" name="矢印: 右 50">
            <a:extLst>
              <a:ext uri="{FF2B5EF4-FFF2-40B4-BE49-F238E27FC236}">
                <a16:creationId xmlns:a16="http://schemas.microsoft.com/office/drawing/2014/main" id="{5BE09C91-7028-91D8-CEA0-99435511B245}"/>
              </a:ext>
            </a:extLst>
          </p:cNvPr>
          <p:cNvSpPr/>
          <p:nvPr/>
        </p:nvSpPr>
        <p:spPr>
          <a:xfrm>
            <a:off x="5682375" y="4682270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C566B52B-9993-BC50-09C2-4474B0ABF4A4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264687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写真を撮ろう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3591F18-D152-38B9-B914-982B6BB2A228}"/>
              </a:ext>
            </a:extLst>
          </p:cNvPr>
          <p:cNvSpPr txBox="1"/>
          <p:nvPr/>
        </p:nvSpPr>
        <p:spPr>
          <a:xfrm>
            <a:off x="563514" y="2427245"/>
            <a:ext cx="2880000" cy="4073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メラ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イコン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タップし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撮影したいものに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を向け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シャッターボタン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en-US" altLang="ja-JP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lvl="0">
              <a:lnSpc>
                <a:spcPct val="90000"/>
              </a:lnSpc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面を２本の指で広げることにより画像を拡大できます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8" name="字幕 14">
            <a:extLst>
              <a:ext uri="{FF2B5EF4-FFF2-40B4-BE49-F238E27FC236}">
                <a16:creationId xmlns:a16="http://schemas.microsoft.com/office/drawing/2014/main" id="{DFBC1583-8374-FC1B-B489-DB312B2562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390368"/>
            <a:ext cx="8384676" cy="360000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100" dirty="0"/>
              <a:t>カメラ機能には、本体上部に自分を撮影できる前面カメラと</a:t>
            </a:r>
            <a:endParaRPr lang="en-US" altLang="ja-JP" sz="21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100" dirty="0"/>
              <a:t>通常の背面カメラが搭載されています。撮影した写真・動画などは、「フォト」や「ギャラリー」、「アルバム」に保存されます。</a:t>
            </a:r>
          </a:p>
        </p:txBody>
      </p:sp>
      <p:grpSp>
        <p:nvGrpSpPr>
          <p:cNvPr id="19" name="図形グループ 60">
            <a:extLst>
              <a:ext uri="{FF2B5EF4-FFF2-40B4-BE49-F238E27FC236}">
                <a16:creationId xmlns:a16="http://schemas.microsoft.com/office/drawing/2014/main" id="{26EAC4C9-9EA7-18C2-F48E-65CEB13C4A1F}"/>
              </a:ext>
            </a:extLst>
          </p:cNvPr>
          <p:cNvGrpSpPr/>
          <p:nvPr/>
        </p:nvGrpSpPr>
        <p:grpSpPr>
          <a:xfrm>
            <a:off x="4784456" y="4860690"/>
            <a:ext cx="296587" cy="293005"/>
            <a:chOff x="2897417" y="3995693"/>
            <a:chExt cx="296587" cy="293005"/>
          </a:xfrm>
        </p:grpSpPr>
        <p:sp>
          <p:nvSpPr>
            <p:cNvPr id="25" name="円/楕円 61">
              <a:extLst>
                <a:ext uri="{FF2B5EF4-FFF2-40B4-BE49-F238E27FC236}">
                  <a16:creationId xmlns:a16="http://schemas.microsoft.com/office/drawing/2014/main" id="{95EEE136-0E83-D98C-CE9C-11FB58408ABD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7" name="テキスト ボックス 26">
              <a:extLst>
                <a:ext uri="{FF2B5EF4-FFF2-40B4-BE49-F238E27FC236}">
                  <a16:creationId xmlns:a16="http://schemas.microsoft.com/office/drawing/2014/main" id="{3697DF72-4C3E-011E-EB1E-741267FE7576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8" name="図 27">
            <a:extLst>
              <a:ext uri="{FF2B5EF4-FFF2-40B4-BE49-F238E27FC236}">
                <a16:creationId xmlns:a16="http://schemas.microsoft.com/office/drawing/2014/main" id="{CCA759D8-6C7E-8936-48BD-3047A81090E4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062" y="3432690"/>
            <a:ext cx="1143666" cy="1116711"/>
          </a:xfrm>
          <a:prstGeom prst="rect">
            <a:avLst/>
          </a:prstGeom>
        </p:spPr>
      </p:pic>
      <p:grpSp>
        <p:nvGrpSpPr>
          <p:cNvPr id="38" name="図形グループ 51">
            <a:extLst>
              <a:ext uri="{FF2B5EF4-FFF2-40B4-BE49-F238E27FC236}">
                <a16:creationId xmlns:a16="http://schemas.microsoft.com/office/drawing/2014/main" id="{2181758D-0A00-9FA8-CA3D-CCDF31C57837}"/>
              </a:ext>
            </a:extLst>
          </p:cNvPr>
          <p:cNvGrpSpPr/>
          <p:nvPr/>
        </p:nvGrpSpPr>
        <p:grpSpPr>
          <a:xfrm>
            <a:off x="6956652" y="5211184"/>
            <a:ext cx="296586" cy="293005"/>
            <a:chOff x="4232441" y="3995693"/>
            <a:chExt cx="296586" cy="293005"/>
          </a:xfrm>
        </p:grpSpPr>
        <p:sp>
          <p:nvSpPr>
            <p:cNvPr id="40" name="円/楕円 52">
              <a:extLst>
                <a:ext uri="{FF2B5EF4-FFF2-40B4-BE49-F238E27FC236}">
                  <a16:creationId xmlns:a16="http://schemas.microsoft.com/office/drawing/2014/main" id="{C14A4790-0721-9ED9-2D52-85A93B89F879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53">
              <a:extLst>
                <a:ext uri="{FF2B5EF4-FFF2-40B4-BE49-F238E27FC236}">
                  <a16:creationId xmlns:a16="http://schemas.microsoft.com/office/drawing/2014/main" id="{F33B6B17-AA9E-521A-DC4D-95731CBC2098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9" name="フリーフォーム 46">
            <a:extLst>
              <a:ext uri="{FF2B5EF4-FFF2-40B4-BE49-F238E27FC236}">
                <a16:creationId xmlns:a16="http://schemas.microsoft.com/office/drawing/2014/main" id="{0F418AC6-3E39-B9E0-FB14-B02CCF0125E1}"/>
              </a:ext>
            </a:extLst>
          </p:cNvPr>
          <p:cNvSpPr/>
          <p:nvPr/>
        </p:nvSpPr>
        <p:spPr>
          <a:xfrm>
            <a:off x="8206649" y="3434719"/>
            <a:ext cx="296586" cy="293005"/>
          </a:xfrm>
          <a:custGeom>
            <a:avLst/>
            <a:gdLst/>
            <a:ahLst/>
            <a:cxnLst/>
            <a:rect l="l" t="t" r="r" b="b"/>
            <a:pathLst>
              <a:path w="296586" h="293005">
                <a:moveTo>
                  <a:pt x="144224" y="102715"/>
                </a:moveTo>
                <a:lnTo>
                  <a:pt x="144224" y="158060"/>
                </a:lnTo>
                <a:lnTo>
                  <a:pt x="100924" y="158060"/>
                </a:lnTo>
                <a:close/>
                <a:moveTo>
                  <a:pt x="149595" y="46392"/>
                </a:moveTo>
                <a:lnTo>
                  <a:pt x="62996" y="153991"/>
                </a:lnTo>
                <a:lnTo>
                  <a:pt x="62996" y="190616"/>
                </a:lnTo>
                <a:lnTo>
                  <a:pt x="144224" y="190616"/>
                </a:lnTo>
                <a:lnTo>
                  <a:pt x="144224" y="241078"/>
                </a:lnTo>
                <a:lnTo>
                  <a:pt x="187686" y="241078"/>
                </a:lnTo>
                <a:lnTo>
                  <a:pt x="187686" y="190616"/>
                </a:lnTo>
                <a:lnTo>
                  <a:pt x="212592" y="190616"/>
                </a:lnTo>
                <a:lnTo>
                  <a:pt x="212592" y="158060"/>
                </a:lnTo>
                <a:lnTo>
                  <a:pt x="187686" y="158060"/>
                </a:lnTo>
                <a:lnTo>
                  <a:pt x="187686" y="46392"/>
                </a:lnTo>
                <a:close/>
                <a:moveTo>
                  <a:pt x="148619" y="0"/>
                </a:moveTo>
                <a:cubicBezTo>
                  <a:pt x="189422" y="0"/>
                  <a:pt x="224285" y="14162"/>
                  <a:pt x="253205" y="42486"/>
                </a:cubicBezTo>
                <a:cubicBezTo>
                  <a:pt x="282126" y="70810"/>
                  <a:pt x="296586" y="105211"/>
                  <a:pt x="296586" y="145689"/>
                </a:cubicBezTo>
                <a:cubicBezTo>
                  <a:pt x="296586" y="186275"/>
                  <a:pt x="282045" y="220975"/>
                  <a:pt x="252961" y="249787"/>
                </a:cubicBezTo>
                <a:cubicBezTo>
                  <a:pt x="223878" y="278599"/>
                  <a:pt x="188988" y="293005"/>
                  <a:pt x="148293" y="293005"/>
                </a:cubicBezTo>
                <a:cubicBezTo>
                  <a:pt x="107598" y="293005"/>
                  <a:pt x="72709" y="278599"/>
                  <a:pt x="43625" y="249787"/>
                </a:cubicBezTo>
                <a:cubicBezTo>
                  <a:pt x="14542" y="220975"/>
                  <a:pt x="0" y="186275"/>
                  <a:pt x="0" y="145689"/>
                </a:cubicBezTo>
                <a:cubicBezTo>
                  <a:pt x="0" y="105211"/>
                  <a:pt x="14542" y="70810"/>
                  <a:pt x="43625" y="42486"/>
                </a:cubicBezTo>
                <a:cubicBezTo>
                  <a:pt x="72709" y="14162"/>
                  <a:pt x="107707" y="0"/>
                  <a:pt x="148619" y="0"/>
                </a:cubicBezTo>
                <a:close/>
              </a:path>
            </a:pathLst>
          </a:cu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ADFB154C-3C11-9CAC-75C2-E2CA0A7EDCC9}"/>
              </a:ext>
            </a:extLst>
          </p:cNvPr>
          <p:cNvSpPr txBox="1"/>
          <p:nvPr/>
        </p:nvSpPr>
        <p:spPr>
          <a:xfrm>
            <a:off x="5758594" y="6134945"/>
            <a:ext cx="35529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カメラのバージョン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2.04.096(1-00)</a:t>
            </a:r>
          </a:p>
        </p:txBody>
      </p:sp>
    </p:spTree>
    <p:extLst>
      <p:ext uri="{BB962C8B-B14F-4D97-AF65-F5344CB8AC3E}">
        <p14:creationId xmlns:p14="http://schemas.microsoft.com/office/powerpoint/2010/main" val="20509909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7F5366D1-9382-669E-4137-F83A639AF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9093" y="2492333"/>
            <a:ext cx="1783926" cy="370268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A7843C16-AEE4-040A-F2A2-9ED5FE470AA0}"/>
              </a:ext>
            </a:extLst>
          </p:cNvPr>
          <p:cNvSpPr/>
          <p:nvPr/>
        </p:nvSpPr>
        <p:spPr>
          <a:xfrm>
            <a:off x="4932040" y="2493771"/>
            <a:ext cx="288032" cy="21515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6" name="図 46">
            <a:extLst>
              <a:ext uri="{FF2B5EF4-FFF2-40B4-BE49-F238E27FC236}">
                <a16:creationId xmlns:a16="http://schemas.microsoft.com/office/drawing/2014/main" id="{FAAB380D-492A-AB60-10ED-499F84A52E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99866" y="2678500"/>
            <a:ext cx="134977" cy="134977"/>
          </a:xfrm>
          <a:prstGeom prst="rect">
            <a:avLst/>
          </a:prstGeom>
        </p:spPr>
      </p:pic>
      <p:sp>
        <p:nvSpPr>
          <p:cNvPr id="8" name="タイトル 1">
            <a:extLst>
              <a:ext uri="{FF2B5EF4-FFF2-40B4-BE49-F238E27FC236}">
                <a16:creationId xmlns:a16="http://schemas.microsoft.com/office/drawing/2014/main" id="{C566B52B-9993-BC50-09C2-4474B0ABF4A4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387798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自撮りをしてみよう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3591F18-D152-38B9-B914-982B6BB2A228}"/>
              </a:ext>
            </a:extLst>
          </p:cNvPr>
          <p:cNvSpPr txBox="1"/>
          <p:nvPr/>
        </p:nvSpPr>
        <p:spPr>
          <a:xfrm>
            <a:off x="563514" y="2027479"/>
            <a:ext cx="2880000" cy="393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メラのマーク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タップしカメラの向き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背面から前面に変えます</a:t>
            </a:r>
          </a:p>
          <a:p>
            <a:pPr>
              <a:lnSpc>
                <a:spcPct val="90000"/>
              </a:lnSpc>
            </a:pPr>
            <a:endParaRPr lang="ja-JP" altLang="en-US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やや斜め上にあげると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上手く撮れます</a:t>
            </a:r>
          </a:p>
          <a:p>
            <a:pPr>
              <a:lnSpc>
                <a:spcPct val="90000"/>
              </a:lnSpc>
            </a:pPr>
            <a:endParaRPr lang="ja-JP" altLang="en-US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シャッターボタン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2" name="図形グループ 4" descr="スマートフォンで自分を撮影している人のイラスト">
            <a:extLst>
              <a:ext uri="{FF2B5EF4-FFF2-40B4-BE49-F238E27FC236}">
                <a16:creationId xmlns:a16="http://schemas.microsoft.com/office/drawing/2014/main" id="{B798E945-F875-01AA-A0B0-BA12B3F5588A}"/>
              </a:ext>
            </a:extLst>
          </p:cNvPr>
          <p:cNvGrpSpPr>
            <a:grpSpLocks noChangeAspect="1"/>
          </p:cNvGrpSpPr>
          <p:nvPr/>
        </p:nvGrpSpPr>
        <p:grpSpPr>
          <a:xfrm>
            <a:off x="5921499" y="2975129"/>
            <a:ext cx="2482283" cy="2452386"/>
            <a:chOff x="6296297" y="2611422"/>
            <a:chExt cx="1932850" cy="1909571"/>
          </a:xfrm>
        </p:grpSpPr>
        <p:pic>
          <p:nvPicPr>
            <p:cNvPr id="3" name="Picture 2" descr="スマホで撮影する人のイラスト（男性）">
              <a:extLst>
                <a:ext uri="{FF2B5EF4-FFF2-40B4-BE49-F238E27FC236}">
                  <a16:creationId xmlns:a16="http://schemas.microsoft.com/office/drawing/2014/main" id="{38B07DD5-1F7D-4FF2-F69A-D65143FA18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6297" y="2952583"/>
              <a:ext cx="1407647" cy="156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矢印: 左右 71">
              <a:extLst>
                <a:ext uri="{FF2B5EF4-FFF2-40B4-BE49-F238E27FC236}">
                  <a16:creationId xmlns:a16="http://schemas.microsoft.com/office/drawing/2014/main" id="{4059030E-F1E9-FA15-4953-410107B4A54F}"/>
                </a:ext>
              </a:extLst>
            </p:cNvPr>
            <p:cNvSpPr/>
            <p:nvPr/>
          </p:nvSpPr>
          <p:spPr>
            <a:xfrm rot="9215184">
              <a:off x="7466928" y="2611422"/>
              <a:ext cx="762219" cy="382947"/>
            </a:xfrm>
            <a:prstGeom prst="rightArrow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9" name="字幕 14">
            <a:extLst>
              <a:ext uri="{FF2B5EF4-FFF2-40B4-BE49-F238E27FC236}">
                <a16:creationId xmlns:a16="http://schemas.microsoft.com/office/drawing/2014/main" id="{08AAA12A-4CA1-2EAA-28C2-192A319B4A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前面カメラを使って自撮りをしてみましょう。</a:t>
            </a:r>
          </a:p>
        </p:txBody>
      </p:sp>
      <p:grpSp>
        <p:nvGrpSpPr>
          <p:cNvPr id="12" name="図形グループ 57">
            <a:extLst>
              <a:ext uri="{FF2B5EF4-FFF2-40B4-BE49-F238E27FC236}">
                <a16:creationId xmlns:a16="http://schemas.microsoft.com/office/drawing/2014/main" id="{653D785F-A0F3-9525-837C-1A466CB8DBFD}"/>
              </a:ext>
            </a:extLst>
          </p:cNvPr>
          <p:cNvGrpSpPr/>
          <p:nvPr/>
        </p:nvGrpSpPr>
        <p:grpSpPr>
          <a:xfrm>
            <a:off x="4783746" y="2229957"/>
            <a:ext cx="296587" cy="293005"/>
            <a:chOff x="2897417" y="3995693"/>
            <a:chExt cx="296587" cy="293005"/>
          </a:xfrm>
        </p:grpSpPr>
        <p:sp>
          <p:nvSpPr>
            <p:cNvPr id="13" name="円/楕円 58">
              <a:extLst>
                <a:ext uri="{FF2B5EF4-FFF2-40B4-BE49-F238E27FC236}">
                  <a16:creationId xmlns:a16="http://schemas.microsoft.com/office/drawing/2014/main" id="{107476C7-64A3-3CFF-0A3C-59ED12FDA718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3A79F9B1-0125-A5CC-88CD-5495DCA77071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5" name="四角形: 角を丸くする 14">
            <a:extLst>
              <a:ext uri="{FF2B5EF4-FFF2-40B4-BE49-F238E27FC236}">
                <a16:creationId xmlns:a16="http://schemas.microsoft.com/office/drawing/2014/main" id="{91C8CF16-F5DE-09F6-B3CC-9D0156A7563B}"/>
              </a:ext>
            </a:extLst>
          </p:cNvPr>
          <p:cNvSpPr/>
          <p:nvPr/>
        </p:nvSpPr>
        <p:spPr>
          <a:xfrm>
            <a:off x="4344607" y="5517232"/>
            <a:ext cx="454785" cy="44055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6" name="図形グループ 54">
            <a:extLst>
              <a:ext uri="{FF2B5EF4-FFF2-40B4-BE49-F238E27FC236}">
                <a16:creationId xmlns:a16="http://schemas.microsoft.com/office/drawing/2014/main" id="{03D93070-DBC6-530A-AD55-81B23C698CA8}"/>
              </a:ext>
            </a:extLst>
          </p:cNvPr>
          <p:cNvGrpSpPr/>
          <p:nvPr/>
        </p:nvGrpSpPr>
        <p:grpSpPr>
          <a:xfrm>
            <a:off x="6908119" y="3050870"/>
            <a:ext cx="296586" cy="293005"/>
            <a:chOff x="3546641" y="3995693"/>
            <a:chExt cx="296586" cy="293005"/>
          </a:xfrm>
        </p:grpSpPr>
        <p:sp>
          <p:nvSpPr>
            <p:cNvPr id="17" name="円/楕円 55">
              <a:extLst>
                <a:ext uri="{FF2B5EF4-FFF2-40B4-BE49-F238E27FC236}">
                  <a16:creationId xmlns:a16="http://schemas.microsoft.com/office/drawing/2014/main" id="{F8A8BC69-E10D-E108-2A1D-153ADD5A1DF8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1" name="フリーフォーム 56">
              <a:extLst>
                <a:ext uri="{FF2B5EF4-FFF2-40B4-BE49-F238E27FC236}">
                  <a16:creationId xmlns:a16="http://schemas.microsoft.com/office/drawing/2014/main" id="{E2C7273F-C8A5-ED5F-E1B5-63B89B7009D3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8" name="図形グループ 51">
            <a:extLst>
              <a:ext uri="{FF2B5EF4-FFF2-40B4-BE49-F238E27FC236}">
                <a16:creationId xmlns:a16="http://schemas.microsoft.com/office/drawing/2014/main" id="{2181758D-0A00-9FA8-CA3D-CCDF31C57837}"/>
              </a:ext>
            </a:extLst>
          </p:cNvPr>
          <p:cNvGrpSpPr/>
          <p:nvPr/>
        </p:nvGrpSpPr>
        <p:grpSpPr>
          <a:xfrm>
            <a:off x="4147812" y="5280001"/>
            <a:ext cx="296586" cy="293005"/>
            <a:chOff x="4232441" y="3995693"/>
            <a:chExt cx="296586" cy="293005"/>
          </a:xfrm>
        </p:grpSpPr>
        <p:sp>
          <p:nvSpPr>
            <p:cNvPr id="40" name="円/楕円 52">
              <a:extLst>
                <a:ext uri="{FF2B5EF4-FFF2-40B4-BE49-F238E27FC236}">
                  <a16:creationId xmlns:a16="http://schemas.microsoft.com/office/drawing/2014/main" id="{C14A4790-0721-9ED9-2D52-85A93B89F879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53">
              <a:extLst>
                <a:ext uri="{FF2B5EF4-FFF2-40B4-BE49-F238E27FC236}">
                  <a16:creationId xmlns:a16="http://schemas.microsoft.com/office/drawing/2014/main" id="{F33B6B17-AA9E-521A-DC4D-95731CBC2098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237979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>
            <a:extLst>
              <a:ext uri="{FF2B5EF4-FFF2-40B4-BE49-F238E27FC236}">
                <a16:creationId xmlns:a16="http://schemas.microsoft.com/office/drawing/2014/main" id="{08DEE3F4-10FC-FBB1-0277-02450FF08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797" y="2251591"/>
            <a:ext cx="1976629" cy="410265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グループ化 51">
            <a:extLst>
              <a:ext uri="{FF2B5EF4-FFF2-40B4-BE49-F238E27FC236}">
                <a16:creationId xmlns:a16="http://schemas.microsoft.com/office/drawing/2014/main" id="{72F80224-C7DA-4C7E-98BC-563EC273684C}"/>
              </a:ext>
            </a:extLst>
          </p:cNvPr>
          <p:cNvGrpSpPr>
            <a:grpSpLocks noChangeAspect="1"/>
          </p:cNvGrpSpPr>
          <p:nvPr/>
        </p:nvGrpSpPr>
        <p:grpSpPr>
          <a:xfrm>
            <a:off x="5757656" y="2512037"/>
            <a:ext cx="2700000" cy="3780000"/>
            <a:chOff x="7261991" y="2440974"/>
            <a:chExt cx="3159339" cy="4271107"/>
          </a:xfrm>
        </p:grpSpPr>
        <p:sp>
          <p:nvSpPr>
            <p:cNvPr id="40" name="object 2" descr="主カメラと自撮りカメラの切り替えのアイコンの例">
              <a:extLst>
                <a:ext uri="{FF2B5EF4-FFF2-40B4-BE49-F238E27FC236}">
                  <a16:creationId xmlns:a16="http://schemas.microsoft.com/office/drawing/2014/main" id="{36BBA452-992C-45C9-8E36-0A18B62CB652}"/>
                </a:ext>
              </a:extLst>
            </p:cNvPr>
            <p:cNvSpPr/>
            <p:nvPr/>
          </p:nvSpPr>
          <p:spPr>
            <a:xfrm>
              <a:off x="7591169" y="3189401"/>
              <a:ext cx="372371" cy="37108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object 3" descr="主カメラと自撮りカメラの切り替えのアイコンの例">
              <a:extLst>
                <a:ext uri="{FF2B5EF4-FFF2-40B4-BE49-F238E27FC236}">
                  <a16:creationId xmlns:a16="http://schemas.microsoft.com/office/drawing/2014/main" id="{748FABDE-8BE0-4298-8F54-B8204026F46E}"/>
                </a:ext>
              </a:extLst>
            </p:cNvPr>
            <p:cNvSpPr/>
            <p:nvPr/>
          </p:nvSpPr>
          <p:spPr>
            <a:xfrm>
              <a:off x="8353758" y="3189401"/>
              <a:ext cx="377917" cy="370303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2" name="object 4" descr="主カメラと自撮りカメラの切り替えのアイコンの例">
              <a:extLst>
                <a:ext uri="{FF2B5EF4-FFF2-40B4-BE49-F238E27FC236}">
                  <a16:creationId xmlns:a16="http://schemas.microsoft.com/office/drawing/2014/main" id="{C9FC00EC-01F6-4401-9B06-4FAE18EA1DA0}"/>
                </a:ext>
              </a:extLst>
            </p:cNvPr>
            <p:cNvSpPr/>
            <p:nvPr/>
          </p:nvSpPr>
          <p:spPr>
            <a:xfrm>
              <a:off x="9094166" y="3189401"/>
              <a:ext cx="364448" cy="358608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3" name="object 5" descr="主カメラと自撮りカメラの切り替えのアイコンの例">
              <a:extLst>
                <a:ext uri="{FF2B5EF4-FFF2-40B4-BE49-F238E27FC236}">
                  <a16:creationId xmlns:a16="http://schemas.microsoft.com/office/drawing/2014/main" id="{D6669F84-A067-4375-9E3C-351DE8A64EDF}"/>
                </a:ext>
              </a:extLst>
            </p:cNvPr>
            <p:cNvSpPr/>
            <p:nvPr/>
          </p:nvSpPr>
          <p:spPr>
            <a:xfrm>
              <a:off x="9773952" y="3189401"/>
              <a:ext cx="364448" cy="358608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4" name="object 6" descr="「シャッターボタン」のアイコンの例">
              <a:extLst>
                <a:ext uri="{FF2B5EF4-FFF2-40B4-BE49-F238E27FC236}">
                  <a16:creationId xmlns:a16="http://schemas.microsoft.com/office/drawing/2014/main" id="{8A03336B-BDD0-4B57-B051-CC2058113AF6}"/>
                </a:ext>
              </a:extLst>
            </p:cNvPr>
            <p:cNvSpPr/>
            <p:nvPr/>
          </p:nvSpPr>
          <p:spPr>
            <a:xfrm>
              <a:off x="7591169" y="4121141"/>
              <a:ext cx="388217" cy="376538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4" name="object 7" descr="「シャッターボタン」のアイコンの例">
              <a:extLst>
                <a:ext uri="{FF2B5EF4-FFF2-40B4-BE49-F238E27FC236}">
                  <a16:creationId xmlns:a16="http://schemas.microsoft.com/office/drawing/2014/main" id="{44AE3174-0275-4562-A56D-C1BD17E0535B}"/>
                </a:ext>
              </a:extLst>
            </p:cNvPr>
            <p:cNvSpPr/>
            <p:nvPr/>
          </p:nvSpPr>
          <p:spPr>
            <a:xfrm>
              <a:off x="8353758" y="4121141"/>
              <a:ext cx="395347" cy="376538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5" name="object 8" descr="「フラッシュのオフ」のアイコンの例">
              <a:extLst>
                <a:ext uri="{FF2B5EF4-FFF2-40B4-BE49-F238E27FC236}">
                  <a16:creationId xmlns:a16="http://schemas.microsoft.com/office/drawing/2014/main" id="{C86836C8-81C6-43C8-847F-C7DAE93A6192}"/>
                </a:ext>
              </a:extLst>
            </p:cNvPr>
            <p:cNvSpPr/>
            <p:nvPr/>
          </p:nvSpPr>
          <p:spPr>
            <a:xfrm>
              <a:off x="7591169" y="5562560"/>
              <a:ext cx="388217" cy="357829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6" name="object 9" descr="「フラッシュのオフ」のアイコンの例">
              <a:extLst>
                <a:ext uri="{FF2B5EF4-FFF2-40B4-BE49-F238E27FC236}">
                  <a16:creationId xmlns:a16="http://schemas.microsoft.com/office/drawing/2014/main" id="{2A80E2B5-CA31-4F85-B520-F5ED092ED6DA}"/>
                </a:ext>
              </a:extLst>
            </p:cNvPr>
            <p:cNvSpPr/>
            <p:nvPr/>
          </p:nvSpPr>
          <p:spPr>
            <a:xfrm>
              <a:off x="7591169" y="6095442"/>
              <a:ext cx="379501" cy="357829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7" name="object 10" descr="「フラッシュのオン」のアイコンの例">
              <a:extLst>
                <a:ext uri="{FF2B5EF4-FFF2-40B4-BE49-F238E27FC236}">
                  <a16:creationId xmlns:a16="http://schemas.microsoft.com/office/drawing/2014/main" id="{EF63A79B-FEAD-48AE-BF82-8F389BCFE297}"/>
                </a:ext>
              </a:extLst>
            </p:cNvPr>
            <p:cNvSpPr/>
            <p:nvPr/>
          </p:nvSpPr>
          <p:spPr>
            <a:xfrm>
              <a:off x="8353758" y="6095442"/>
              <a:ext cx="363657" cy="357829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8" name="object 11" descr="「フラッシュのオート」のアイコンの例">
              <a:extLst>
                <a:ext uri="{FF2B5EF4-FFF2-40B4-BE49-F238E27FC236}">
                  <a16:creationId xmlns:a16="http://schemas.microsoft.com/office/drawing/2014/main" id="{675930BF-204E-44E9-A6E5-8E6C57488CB5}"/>
                </a:ext>
              </a:extLst>
            </p:cNvPr>
            <p:cNvSpPr/>
            <p:nvPr/>
          </p:nvSpPr>
          <p:spPr>
            <a:xfrm>
              <a:off x="9094166" y="6095442"/>
              <a:ext cx="350979" cy="356270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9" name="object 12" descr="「フラッシュのオート」のアイコンの例">
              <a:extLst>
                <a:ext uri="{FF2B5EF4-FFF2-40B4-BE49-F238E27FC236}">
                  <a16:creationId xmlns:a16="http://schemas.microsoft.com/office/drawing/2014/main" id="{CDC8ACB1-6C38-4440-AA96-CFC268B50B6D}"/>
                </a:ext>
              </a:extLst>
            </p:cNvPr>
            <p:cNvSpPr/>
            <p:nvPr/>
          </p:nvSpPr>
          <p:spPr>
            <a:xfrm>
              <a:off x="9094166" y="5562560"/>
              <a:ext cx="362071" cy="319629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60" name="object 13" descr="「フラッシュのオン」のアイコンの例">
              <a:extLst>
                <a:ext uri="{FF2B5EF4-FFF2-40B4-BE49-F238E27FC236}">
                  <a16:creationId xmlns:a16="http://schemas.microsoft.com/office/drawing/2014/main" id="{A57EDA26-446C-4E96-B13A-5E8BE61FC9A4}"/>
                </a:ext>
              </a:extLst>
            </p:cNvPr>
            <p:cNvSpPr/>
            <p:nvPr/>
          </p:nvSpPr>
          <p:spPr>
            <a:xfrm>
              <a:off x="8353758" y="5562560"/>
              <a:ext cx="355733" cy="334441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61" name="object 15">
              <a:extLst>
                <a:ext uri="{FF2B5EF4-FFF2-40B4-BE49-F238E27FC236}">
                  <a16:creationId xmlns:a16="http://schemas.microsoft.com/office/drawing/2014/main" id="{3DC63307-C7D3-4272-8CE5-C5D094F1E499}"/>
                </a:ext>
              </a:extLst>
            </p:cNvPr>
            <p:cNvSpPr txBox="1"/>
            <p:nvPr/>
          </p:nvSpPr>
          <p:spPr>
            <a:xfrm>
              <a:off x="7561527" y="2570846"/>
              <a:ext cx="2690387" cy="803725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lang="ja-JP" altLang="en-US" sz="1600" b="1" spc="4" dirty="0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背面</a:t>
              </a: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カ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メ</a:t>
              </a:r>
              <a:r>
                <a:rPr sz="1600" b="1" spc="-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ラ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と</a:t>
              </a:r>
              <a:endParaRPr 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lang="ja-JP" altLang="en-US" sz="1600" b="1" dirty="0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前面</a:t>
              </a: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カ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メ</a:t>
              </a:r>
              <a:r>
                <a:rPr sz="1600" b="1" spc="-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ラ</a:t>
              </a:r>
              <a:r>
                <a:rPr sz="1600" b="1" spc="-25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の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切</a:t>
              </a:r>
              <a:r>
                <a:rPr sz="1600" b="1" spc="-1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り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替</a:t>
              </a:r>
              <a:r>
                <a:rPr sz="1600" b="1" spc="-28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え</a:t>
              </a:r>
              <a:endParaRPr sz="777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 marL="503054">
                <a:spcBef>
                  <a:spcPts val="615"/>
                </a:spcBef>
              </a:pPr>
              <a:endParaRPr sz="777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2" name="object 16">
              <a:extLst>
                <a:ext uri="{FF2B5EF4-FFF2-40B4-BE49-F238E27FC236}">
                  <a16:creationId xmlns:a16="http://schemas.microsoft.com/office/drawing/2014/main" id="{8B710B55-FB61-4CBA-92B1-20CF43AB1A57}"/>
                </a:ext>
              </a:extLst>
            </p:cNvPr>
            <p:cNvSpPr txBox="1"/>
            <p:nvPr/>
          </p:nvSpPr>
          <p:spPr>
            <a:xfrm>
              <a:off x="7561528" y="3725424"/>
              <a:ext cx="2067318" cy="571848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lang="ja-JP" altLang="en-US" sz="1600" b="1" spc="7" dirty="0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シャッター</a:t>
              </a:r>
              <a:r>
                <a:rPr sz="1600" b="1" spc="-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ボ</a:t>
              </a:r>
              <a:r>
                <a:rPr sz="1600" b="1" spc="-1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タ</a:t>
              </a:r>
              <a:r>
                <a:rPr sz="1600" b="1" spc="1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ン</a:t>
              </a:r>
              <a:endParaRPr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>
                <a:lnSpc>
                  <a:spcPct val="100000"/>
                </a:lnSpc>
              </a:pPr>
              <a:endParaRPr sz="777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 marL="503054">
                <a:spcBef>
                  <a:spcPts val="615"/>
                </a:spcBef>
              </a:pPr>
              <a:endParaRPr sz="777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3" name="object 17">
              <a:extLst>
                <a:ext uri="{FF2B5EF4-FFF2-40B4-BE49-F238E27FC236}">
                  <a16:creationId xmlns:a16="http://schemas.microsoft.com/office/drawing/2014/main" id="{CC412C18-3FFB-43F6-BADA-D2D32FD3A9FE}"/>
                </a:ext>
              </a:extLst>
            </p:cNvPr>
            <p:cNvSpPr txBox="1"/>
            <p:nvPr/>
          </p:nvSpPr>
          <p:spPr>
            <a:xfrm>
              <a:off x="7561528" y="4720975"/>
              <a:ext cx="1919527" cy="514282"/>
            </a:xfrm>
            <a:prstGeom prst="rect">
              <a:avLst/>
            </a:prstGeom>
          </p:spPr>
          <p:txBody>
            <a:bodyPr vert="horz" wrap="non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sz="1600" b="1" spc="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フ</a:t>
              </a:r>
              <a:r>
                <a:rPr sz="1600" b="1" spc="-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ラ</a:t>
              </a:r>
              <a:r>
                <a:rPr sz="1600" b="1" spc="1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ッ</a:t>
              </a:r>
              <a:r>
                <a:rPr sz="1600" b="1" spc="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シ</a:t>
              </a:r>
              <a:r>
                <a:rPr sz="1600" b="1" spc="-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ュ</a:t>
              </a:r>
              <a:r>
                <a:rPr sz="1600" b="1" spc="-25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の</a:t>
              </a:r>
              <a:endParaRPr lang="en-US" sz="1600" b="1" spc="-25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600" b="1" spc="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フ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／</a:t>
              </a: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600" b="1" spc="1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ン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／</a:t>
              </a: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600" b="1" spc="-32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ー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ト</a:t>
              </a:r>
              <a:endParaRPr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4" name="object 18">
              <a:extLst>
                <a:ext uri="{FF2B5EF4-FFF2-40B4-BE49-F238E27FC236}">
                  <a16:creationId xmlns:a16="http://schemas.microsoft.com/office/drawing/2014/main" id="{ED03F6CB-114E-49E9-8D17-7403E6AB3F19}"/>
                </a:ext>
              </a:extLst>
            </p:cNvPr>
            <p:cNvSpPr txBox="1"/>
            <p:nvPr/>
          </p:nvSpPr>
          <p:spPr>
            <a:xfrm>
              <a:off x="7566588" y="5314800"/>
              <a:ext cx="707850" cy="193992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</a:pPr>
              <a:r>
                <a:rPr sz="12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200" b="1" spc="-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フ</a:t>
              </a:r>
              <a:endParaRPr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5" name="object 19">
              <a:extLst>
                <a:ext uri="{FF2B5EF4-FFF2-40B4-BE49-F238E27FC236}">
                  <a16:creationId xmlns:a16="http://schemas.microsoft.com/office/drawing/2014/main" id="{2E948B37-87AE-48AE-BBBF-27C493753526}"/>
                </a:ext>
              </a:extLst>
            </p:cNvPr>
            <p:cNvSpPr txBox="1"/>
            <p:nvPr/>
          </p:nvSpPr>
          <p:spPr>
            <a:xfrm>
              <a:off x="8323895" y="5314800"/>
              <a:ext cx="388217" cy="193992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</a:pPr>
              <a:r>
                <a:rPr sz="1200" b="1" spc="-1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200" b="1" spc="1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ン</a:t>
              </a:r>
              <a:endParaRPr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grpSp>
          <p:nvGrpSpPr>
            <p:cNvPr id="66" name="object 29">
              <a:extLst>
                <a:ext uri="{FF2B5EF4-FFF2-40B4-BE49-F238E27FC236}">
                  <a16:creationId xmlns:a16="http://schemas.microsoft.com/office/drawing/2014/main" id="{F82D2D1D-C054-4E6F-BFD3-8BE47680190D}"/>
                </a:ext>
              </a:extLst>
            </p:cNvPr>
            <p:cNvGrpSpPr/>
            <p:nvPr/>
          </p:nvGrpSpPr>
          <p:grpSpPr>
            <a:xfrm>
              <a:off x="8039589" y="5630741"/>
              <a:ext cx="1024854" cy="742831"/>
              <a:chOff x="2270845" y="5996912"/>
              <a:chExt cx="1971379" cy="1452156"/>
            </a:xfrm>
          </p:grpSpPr>
          <p:sp>
            <p:nvSpPr>
              <p:cNvPr id="69" name="object 30">
                <a:extLst>
                  <a:ext uri="{FF2B5EF4-FFF2-40B4-BE49-F238E27FC236}">
                    <a16:creationId xmlns:a16="http://schemas.microsoft.com/office/drawing/2014/main" id="{2A24B43E-D8A5-4B83-8901-0686CB819C00}"/>
                  </a:ext>
                </a:extLst>
              </p:cNvPr>
              <p:cNvSpPr/>
              <p:nvPr/>
            </p:nvSpPr>
            <p:spPr>
              <a:xfrm>
                <a:off x="2270845" y="6044005"/>
                <a:ext cx="454936" cy="290652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278891" y="175259"/>
                    </a:move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  <p:sp>
            <p:nvSpPr>
              <p:cNvPr id="70" name="object 31">
                <a:extLst>
                  <a:ext uri="{FF2B5EF4-FFF2-40B4-BE49-F238E27FC236}">
                    <a16:creationId xmlns:a16="http://schemas.microsoft.com/office/drawing/2014/main" id="{DB5A91DE-A605-4986-AC5C-885BD5538127}"/>
                  </a:ext>
                </a:extLst>
              </p:cNvPr>
              <p:cNvSpPr/>
              <p:nvPr/>
            </p:nvSpPr>
            <p:spPr>
              <a:xfrm>
                <a:off x="2308861" y="5996912"/>
                <a:ext cx="365760" cy="175257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0" y="44195"/>
                    </a:move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close/>
                  </a:path>
                </a:pathLst>
              </a:custGeom>
              <a:ln w="25908">
                <a:noFill/>
              </a:ln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  <p:sp>
            <p:nvSpPr>
              <p:cNvPr id="71" name="object 30">
                <a:extLst>
                  <a:ext uri="{FF2B5EF4-FFF2-40B4-BE49-F238E27FC236}">
                    <a16:creationId xmlns:a16="http://schemas.microsoft.com/office/drawing/2014/main" id="{2A24B43E-D8A5-4B83-8901-0686CB819C00}"/>
                  </a:ext>
                </a:extLst>
              </p:cNvPr>
              <p:cNvSpPr/>
              <p:nvPr/>
            </p:nvSpPr>
            <p:spPr>
              <a:xfrm>
                <a:off x="3787288" y="6044005"/>
                <a:ext cx="454936" cy="290652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278891" y="175259"/>
                    </a:move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  <p:sp>
            <p:nvSpPr>
              <p:cNvPr id="72" name="object 30">
                <a:extLst>
                  <a:ext uri="{FF2B5EF4-FFF2-40B4-BE49-F238E27FC236}">
                    <a16:creationId xmlns:a16="http://schemas.microsoft.com/office/drawing/2014/main" id="{2A24B43E-D8A5-4B83-8901-0686CB819C00}"/>
                  </a:ext>
                </a:extLst>
              </p:cNvPr>
              <p:cNvSpPr/>
              <p:nvPr/>
            </p:nvSpPr>
            <p:spPr>
              <a:xfrm>
                <a:off x="2270845" y="7158414"/>
                <a:ext cx="454937" cy="290652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278891" y="175259"/>
                    </a:move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  <p:sp>
            <p:nvSpPr>
              <p:cNvPr id="73" name="object 30">
                <a:extLst>
                  <a:ext uri="{FF2B5EF4-FFF2-40B4-BE49-F238E27FC236}">
                    <a16:creationId xmlns:a16="http://schemas.microsoft.com/office/drawing/2014/main" id="{2A24B43E-D8A5-4B83-8901-0686CB819C00}"/>
                  </a:ext>
                </a:extLst>
              </p:cNvPr>
              <p:cNvSpPr/>
              <p:nvPr/>
            </p:nvSpPr>
            <p:spPr>
              <a:xfrm>
                <a:off x="3787287" y="7158415"/>
                <a:ext cx="454937" cy="290653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278891" y="175259"/>
                    </a:move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</p:grpSp>
        <p:sp>
          <p:nvSpPr>
            <p:cNvPr id="67" name="object 19">
              <a:extLst>
                <a:ext uri="{FF2B5EF4-FFF2-40B4-BE49-F238E27FC236}">
                  <a16:creationId xmlns:a16="http://schemas.microsoft.com/office/drawing/2014/main" id="{E9D8CEC4-C109-4FA4-BB11-0862C8434E7A}"/>
                </a:ext>
              </a:extLst>
            </p:cNvPr>
            <p:cNvSpPr txBox="1"/>
            <p:nvPr/>
          </p:nvSpPr>
          <p:spPr>
            <a:xfrm>
              <a:off x="9064442" y="5314800"/>
              <a:ext cx="979684" cy="193992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</a:pPr>
              <a:r>
                <a:rPr lang="ja-JP" altLang="en-US" sz="1200" b="1" spc="-14" dirty="0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ート</a:t>
              </a:r>
              <a:endParaRPr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8" name="四角形: 角を丸くする 145">
              <a:extLst>
                <a:ext uri="{FF2B5EF4-FFF2-40B4-BE49-F238E27FC236}">
                  <a16:creationId xmlns:a16="http://schemas.microsoft.com/office/drawing/2014/main" id="{DB684C8F-A6C1-401F-8493-09E1470AA5A5}"/>
                </a:ext>
              </a:extLst>
            </p:cNvPr>
            <p:cNvSpPr/>
            <p:nvPr/>
          </p:nvSpPr>
          <p:spPr>
            <a:xfrm>
              <a:off x="7261991" y="2440974"/>
              <a:ext cx="3159339" cy="4271107"/>
            </a:xfrm>
            <a:prstGeom prst="roundRect">
              <a:avLst>
                <a:gd name="adj" fmla="val 5650"/>
              </a:avLst>
            </a:prstGeom>
            <a:noFill/>
            <a:ln w="381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5740E3A7-FEB0-46B0-933C-164BA4C08E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スライド" r:id="rId18" imgW="554" imgH="551" progId="TCLayout.ActiveDocument.1">
                  <p:embed/>
                </p:oleObj>
              </mc:Choice>
              <mc:Fallback>
                <p:oleObj name="think-cell スライド" r:id="rId18" imgW="554" imgH="551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5740E3A7-FEB0-46B0-933C-164BA4C08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>
                <a:latin typeface="Meiryo"/>
                <a:ea typeface="Meiryo"/>
              </a:rPr>
              <a:t>カメラの使い方</a:t>
            </a:r>
            <a:br>
              <a:rPr lang="ja-JP" altLang="en-US" sz="2000" kern="0" dirty="0"/>
            </a:br>
            <a:r>
              <a:rPr kumimoji="0" lang="ja-JP" altLang="en-US" kern="0">
                <a:latin typeface="Meiryo"/>
                <a:ea typeface="Meiryo"/>
              </a:rPr>
              <a:t>さまざまな操作機能</a:t>
            </a:r>
          </a:p>
        </p:txBody>
      </p:sp>
      <p:sp>
        <p:nvSpPr>
          <p:cNvPr id="38" name="object 5" descr="「ビデオ」切替のアイコン">
            <a:extLst>
              <a:ext uri="{FF2B5EF4-FFF2-40B4-BE49-F238E27FC236}">
                <a16:creationId xmlns:a16="http://schemas.microsoft.com/office/drawing/2014/main" id="{CAF7D0E9-E6BF-44A0-94FE-91793932CC47}"/>
              </a:ext>
            </a:extLst>
          </p:cNvPr>
          <p:cNvSpPr/>
          <p:nvPr/>
        </p:nvSpPr>
        <p:spPr>
          <a:xfrm>
            <a:off x="4772750" y="5841668"/>
            <a:ext cx="635779" cy="325143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72" dirty="0"/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5727663" y="2228207"/>
            <a:ext cx="27299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各メーカーによって形が異なります</a:t>
            </a:r>
          </a:p>
        </p:txBody>
      </p:sp>
      <p:cxnSp>
        <p:nvCxnSpPr>
          <p:cNvPr id="15" name="カギ線コネクタ 14"/>
          <p:cNvCxnSpPr>
            <a:cxnSpLocks/>
          </p:cNvCxnSpPr>
          <p:nvPr/>
        </p:nvCxnSpPr>
        <p:spPr>
          <a:xfrm flipV="1">
            <a:off x="3130629" y="3759079"/>
            <a:ext cx="2504764" cy="2011193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カギ線コネクタ 16"/>
          <p:cNvCxnSpPr>
            <a:cxnSpLocks/>
            <a:stCxn id="45" idx="2"/>
          </p:cNvCxnSpPr>
          <p:nvPr/>
        </p:nvCxnSpPr>
        <p:spPr>
          <a:xfrm rot="16200000" flipH="1">
            <a:off x="2796158" y="1835934"/>
            <a:ext cx="2119677" cy="3576467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カギ線コネクタ 18"/>
          <p:cNvCxnSpPr>
            <a:cxnSpLocks/>
            <a:endCxn id="30" idx="3"/>
          </p:cNvCxnSpPr>
          <p:nvPr/>
        </p:nvCxnSpPr>
        <p:spPr>
          <a:xfrm rot="10800000">
            <a:off x="3193749" y="5394610"/>
            <a:ext cx="1905728" cy="217009"/>
          </a:xfrm>
          <a:prstGeom prst="bentConnector3">
            <a:avLst>
              <a:gd name="adj1" fmla="val -68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テキスト ボックス 88"/>
          <p:cNvSpPr txBox="1"/>
          <p:nvPr/>
        </p:nvSpPr>
        <p:spPr>
          <a:xfrm>
            <a:off x="4379605" y="5569588"/>
            <a:ext cx="14836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ビデオに切り替え</a:t>
            </a:r>
          </a:p>
        </p:txBody>
      </p:sp>
      <p:sp>
        <p:nvSpPr>
          <p:cNvPr id="14" name="字幕 14">
            <a:extLst>
              <a:ext uri="{FF2B5EF4-FFF2-40B4-BE49-F238E27FC236}">
                <a16:creationId xmlns:a16="http://schemas.microsoft.com/office/drawing/2014/main" id="{AF836970-10ED-B3A2-3F0E-D0B5C9A00B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ja-JP" altLang="en-US" dirty="0"/>
              <a:t>カメラ機能は、各メーカー、</a:t>
            </a:r>
            <a:endParaRPr lang="en-US" altLang="ja-JP" dirty="0"/>
          </a:p>
          <a:p>
            <a:pPr>
              <a:spcBef>
                <a:spcPts val="0"/>
              </a:spcBef>
            </a:pPr>
            <a:r>
              <a:rPr lang="ja-JP" altLang="en-US" dirty="0"/>
              <a:t>機能の更新状況によってかなり異なります。</a:t>
            </a: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F5E4AEEC-9279-0932-2007-BCD238EED497}"/>
              </a:ext>
            </a:extLst>
          </p:cNvPr>
          <p:cNvSpPr/>
          <p:nvPr/>
        </p:nvSpPr>
        <p:spPr>
          <a:xfrm>
            <a:off x="2690165" y="5611732"/>
            <a:ext cx="423967" cy="44569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20" name="図形グループ 119"/>
          <p:cNvGrpSpPr/>
          <p:nvPr/>
        </p:nvGrpSpPr>
        <p:grpSpPr>
          <a:xfrm>
            <a:off x="2441368" y="5476646"/>
            <a:ext cx="296586" cy="293005"/>
            <a:chOff x="3546641" y="3995693"/>
            <a:chExt cx="296586" cy="293005"/>
          </a:xfrm>
        </p:grpSpPr>
        <p:sp>
          <p:nvSpPr>
            <p:cNvPr id="121" name="円/楕円 12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2" name="フリーフォーム 12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3000B6AB-2D8B-7F08-32E9-4364CA78B346}"/>
              </a:ext>
            </a:extLst>
          </p:cNvPr>
          <p:cNvSpPr/>
          <p:nvPr/>
        </p:nvSpPr>
        <p:spPr>
          <a:xfrm>
            <a:off x="2902149" y="5253800"/>
            <a:ext cx="291600" cy="28161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67831985-40F8-1067-A573-CBA7563F5A51}"/>
              </a:ext>
            </a:extLst>
          </p:cNvPr>
          <p:cNvSpPr/>
          <p:nvPr/>
        </p:nvSpPr>
        <p:spPr>
          <a:xfrm>
            <a:off x="1909557" y="2248293"/>
            <a:ext cx="316412" cy="31603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17" name="図形グループ 116"/>
          <p:cNvGrpSpPr/>
          <p:nvPr/>
        </p:nvGrpSpPr>
        <p:grpSpPr>
          <a:xfrm>
            <a:off x="1653787" y="2440980"/>
            <a:ext cx="296586" cy="293005"/>
            <a:chOff x="4232441" y="3995693"/>
            <a:chExt cx="296586" cy="293005"/>
          </a:xfrm>
        </p:grpSpPr>
        <p:sp>
          <p:nvSpPr>
            <p:cNvPr id="118" name="円/楕円 117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9" name="フリーフォーム 118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448FD266-90CF-BC1C-F05C-130C292B6BB6}"/>
              </a:ext>
            </a:extLst>
          </p:cNvPr>
          <p:cNvSpPr/>
          <p:nvPr/>
        </p:nvSpPr>
        <p:spPr>
          <a:xfrm>
            <a:off x="3296101" y="2247543"/>
            <a:ext cx="316412" cy="31603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23" name="図形グループ 122"/>
          <p:cNvGrpSpPr/>
          <p:nvPr/>
        </p:nvGrpSpPr>
        <p:grpSpPr>
          <a:xfrm>
            <a:off x="3585369" y="2161686"/>
            <a:ext cx="296587" cy="293005"/>
            <a:chOff x="2897417" y="3995693"/>
            <a:chExt cx="296587" cy="293005"/>
          </a:xfrm>
        </p:grpSpPr>
        <p:sp>
          <p:nvSpPr>
            <p:cNvPr id="124" name="円/楕円 12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5" name="テキスト ボックス 12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14" name="図形グループ 113"/>
          <p:cNvGrpSpPr/>
          <p:nvPr/>
        </p:nvGrpSpPr>
        <p:grpSpPr>
          <a:xfrm>
            <a:off x="3102439" y="5012619"/>
            <a:ext cx="296586" cy="293005"/>
            <a:chOff x="5101121" y="3995693"/>
            <a:chExt cx="296586" cy="293005"/>
          </a:xfrm>
        </p:grpSpPr>
        <p:sp>
          <p:nvSpPr>
            <p:cNvPr id="115" name="円/楕円 11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6" name="フリーフォーム 11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cxnSp>
        <p:nvCxnSpPr>
          <p:cNvPr id="49" name="カギ線コネクタ 16">
            <a:extLst>
              <a:ext uri="{FF2B5EF4-FFF2-40B4-BE49-F238E27FC236}">
                <a16:creationId xmlns:a16="http://schemas.microsoft.com/office/drawing/2014/main" id="{6FD6C777-7817-A3D7-47C0-93E024580DEF}"/>
              </a:ext>
            </a:extLst>
          </p:cNvPr>
          <p:cNvCxnSpPr>
            <a:cxnSpLocks/>
            <a:stCxn id="48" idx="2"/>
          </p:cNvCxnSpPr>
          <p:nvPr/>
        </p:nvCxnSpPr>
        <p:spPr>
          <a:xfrm rot="16200000" flipH="1">
            <a:off x="4426357" y="1591529"/>
            <a:ext cx="245822" cy="2189923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図形グループ 134"/>
          <p:cNvGrpSpPr/>
          <p:nvPr/>
        </p:nvGrpSpPr>
        <p:grpSpPr>
          <a:xfrm>
            <a:off x="5632931" y="2605885"/>
            <a:ext cx="296587" cy="293005"/>
            <a:chOff x="2897417" y="3995693"/>
            <a:chExt cx="296587" cy="293005"/>
          </a:xfrm>
        </p:grpSpPr>
        <p:sp>
          <p:nvSpPr>
            <p:cNvPr id="136" name="円/楕円 13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7" name="テキスト ボックス 13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32" name="図形グループ 131"/>
          <p:cNvGrpSpPr/>
          <p:nvPr/>
        </p:nvGrpSpPr>
        <p:grpSpPr>
          <a:xfrm>
            <a:off x="5634162" y="3614987"/>
            <a:ext cx="296586" cy="293005"/>
            <a:chOff x="3546641" y="3995693"/>
            <a:chExt cx="296586" cy="293005"/>
          </a:xfrm>
        </p:grpSpPr>
        <p:sp>
          <p:nvSpPr>
            <p:cNvPr id="133" name="円/楕円 13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4" name="フリーフォーム 13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29" name="図形グループ 128"/>
          <p:cNvGrpSpPr/>
          <p:nvPr/>
        </p:nvGrpSpPr>
        <p:grpSpPr>
          <a:xfrm>
            <a:off x="5628301" y="4445784"/>
            <a:ext cx="296586" cy="293005"/>
            <a:chOff x="4232441" y="3995693"/>
            <a:chExt cx="296586" cy="293005"/>
          </a:xfrm>
        </p:grpSpPr>
        <p:sp>
          <p:nvSpPr>
            <p:cNvPr id="130" name="円/楕円 129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1" name="フリーフォーム 130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8887613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>
            <a:extLst>
              <a:ext uri="{FF2B5EF4-FFF2-40B4-BE49-F238E27FC236}">
                <a16:creationId xmlns:a16="http://schemas.microsoft.com/office/drawing/2014/main" id="{EE060FD3-C213-FCCE-3F38-462335AF28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1870" y="2664310"/>
            <a:ext cx="1638301" cy="340042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>
            <a:extLst>
              <a:ext uri="{FF2B5EF4-FFF2-40B4-BE49-F238E27FC236}">
                <a16:creationId xmlns:a16="http://schemas.microsoft.com/office/drawing/2014/main" id="{36D04643-5C30-C917-308D-C5DBB3D73E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036" y="2664307"/>
            <a:ext cx="1638301" cy="340042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346761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撮った写真を見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D</a:t>
            </a:r>
            <a:endParaRPr lang="en-US" sz="3600" dirty="0"/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今までに撮った写真を見てみましょう</a:t>
            </a:r>
            <a:endParaRPr lang="ja-JP" altLang="en-US" sz="2400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7602089" y="4698591"/>
            <a:ext cx="564559" cy="53060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4582996" y="3899611"/>
            <a:ext cx="336327" cy="39348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F22BECD-AEF3-19EE-76BD-51BFBF80CB70}"/>
              </a:ext>
            </a:extLst>
          </p:cNvPr>
          <p:cNvSpPr txBox="1"/>
          <p:nvPr/>
        </p:nvSpPr>
        <p:spPr>
          <a:xfrm>
            <a:off x="523991" y="2058118"/>
            <a:ext cx="2880000" cy="34778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ギャラリーやアルバム、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>
                <a:latin typeface="メイリオ"/>
                <a:ea typeface="メイリオ"/>
              </a:rPr>
              <a:t>フォト　　を押す</a:t>
            </a:r>
            <a:endParaRPr lang="en-US" altLang="ja-JP" sz="1600" b="1">
              <a:latin typeface="メイリオ"/>
              <a:ea typeface="メイリオ"/>
            </a:endParaRPr>
          </a:p>
          <a:p>
            <a:endParaRPr lang="en-US" altLang="ja-JP" sz="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によってアプリが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異なり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が一覧で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表示されますので、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>
                <a:latin typeface="メイリオ"/>
                <a:ea typeface="メイリオ"/>
              </a:rPr>
              <a:t>確認したい写真を押せば</a:t>
            </a:r>
            <a:endParaRPr lang="en-US" altLang="ja-JP" sz="1600" b="1">
              <a:latin typeface="メイリオ"/>
              <a:ea typeface="メイリオ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大きく表示されます</a:t>
            </a:r>
          </a:p>
        </p:txBody>
      </p:sp>
      <p:pic>
        <p:nvPicPr>
          <p:cNvPr id="9220" name="Picture 4">
            <a:extLst>
              <a:ext uri="{FF2B5EF4-FFF2-40B4-BE49-F238E27FC236}">
                <a16:creationId xmlns:a16="http://schemas.microsoft.com/office/drawing/2014/main" id="{F07CA073-2A2F-7028-EE2D-AD919261F8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2831704"/>
            <a:ext cx="288032" cy="373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36E36D82-A023-D392-2E84-A28FC73EF829}"/>
              </a:ext>
            </a:extLst>
          </p:cNvPr>
          <p:cNvSpPr txBox="1"/>
          <p:nvPr/>
        </p:nvSpPr>
        <p:spPr>
          <a:xfrm>
            <a:off x="6653486" y="1347948"/>
            <a:ext cx="245501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「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Google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フォト」バージョン：</a:t>
            </a:r>
            <a:endParaRPr lang="en-US" altLang="ja-JP" sz="11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6.35.0.528633447</a:t>
            </a:r>
          </a:p>
        </p:txBody>
      </p:sp>
    </p:spTree>
    <p:extLst>
      <p:ext uri="{BB962C8B-B14F-4D97-AF65-F5344CB8AC3E}">
        <p14:creationId xmlns:p14="http://schemas.microsoft.com/office/powerpoint/2010/main" val="20523850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0" name="Picture 6">
            <a:extLst>
              <a:ext uri="{FF2B5EF4-FFF2-40B4-BE49-F238E27FC236}">
                <a16:creationId xmlns:a16="http://schemas.microsoft.com/office/drawing/2014/main" id="{E22EC9C5-15C2-07D6-ABBA-2DF62F546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1871" y="2664310"/>
            <a:ext cx="1638301" cy="340042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>
            <a:extLst>
              <a:ext uri="{FF2B5EF4-FFF2-40B4-BE49-F238E27FC236}">
                <a16:creationId xmlns:a16="http://schemas.microsoft.com/office/drawing/2014/main" id="{EE060FD3-C213-FCCE-3F38-462335AF28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036" y="2664308"/>
            <a:ext cx="1638301" cy="340042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2236510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写真の削除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E</a:t>
            </a:r>
            <a:endParaRPr lang="en-US" sz="3600" dirty="0"/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不要な写真を削除しましょう</a:t>
            </a:r>
            <a:endParaRPr lang="ja-JP" altLang="en-US" sz="2400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811778" y="4698591"/>
            <a:ext cx="564559" cy="53060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7797145" y="5598120"/>
            <a:ext cx="231239" cy="2916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F22BECD-AEF3-19EE-76BD-51BFBF80CB70}"/>
              </a:ext>
            </a:extLst>
          </p:cNvPr>
          <p:cNvSpPr txBox="1"/>
          <p:nvPr/>
        </p:nvSpPr>
        <p:spPr>
          <a:xfrm>
            <a:off x="523991" y="2058118"/>
            <a:ext cx="288000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の一覧より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不要な写真を押して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面に大きく表示します。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ゴミ箱のマーク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削除」のボタンを押すと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の削除が完了します</a:t>
            </a:r>
          </a:p>
        </p:txBody>
      </p:sp>
      <p:grpSp>
        <p:nvGrpSpPr>
          <p:cNvPr id="9" name="図形グループ 30">
            <a:extLst>
              <a:ext uri="{FF2B5EF4-FFF2-40B4-BE49-F238E27FC236}">
                <a16:creationId xmlns:a16="http://schemas.microsoft.com/office/drawing/2014/main" id="{593CD632-40CA-1B0B-35D1-5C987589D80F}"/>
              </a:ext>
            </a:extLst>
          </p:cNvPr>
          <p:cNvGrpSpPr/>
          <p:nvPr/>
        </p:nvGrpSpPr>
        <p:grpSpPr>
          <a:xfrm>
            <a:off x="7573806" y="5334167"/>
            <a:ext cx="296586" cy="293005"/>
            <a:chOff x="3546641" y="3995693"/>
            <a:chExt cx="296586" cy="293005"/>
          </a:xfrm>
        </p:grpSpPr>
        <p:sp>
          <p:nvSpPr>
            <p:cNvPr id="11" name="円/楕円 34">
              <a:extLst>
                <a:ext uri="{FF2B5EF4-FFF2-40B4-BE49-F238E27FC236}">
                  <a16:creationId xmlns:a16="http://schemas.microsoft.com/office/drawing/2014/main" id="{601AC40D-914E-EEE9-F2CB-53927C80BC5F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" name="フリーフォーム 48">
              <a:extLst>
                <a:ext uri="{FF2B5EF4-FFF2-40B4-BE49-F238E27FC236}">
                  <a16:creationId xmlns:a16="http://schemas.microsoft.com/office/drawing/2014/main" id="{A6191B43-44D1-56B9-DDFE-CAF5E86CB05A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4" name="図形グループ 49">
            <a:extLst>
              <a:ext uri="{FF2B5EF4-FFF2-40B4-BE49-F238E27FC236}">
                <a16:creationId xmlns:a16="http://schemas.microsoft.com/office/drawing/2014/main" id="{CB42A8EF-8D2E-586B-FFA3-93EFED625C46}"/>
              </a:ext>
            </a:extLst>
          </p:cNvPr>
          <p:cNvGrpSpPr/>
          <p:nvPr/>
        </p:nvGrpSpPr>
        <p:grpSpPr>
          <a:xfrm>
            <a:off x="4596544" y="4514709"/>
            <a:ext cx="296587" cy="293005"/>
            <a:chOff x="2897417" y="3995693"/>
            <a:chExt cx="296587" cy="293005"/>
          </a:xfrm>
        </p:grpSpPr>
        <p:sp>
          <p:nvSpPr>
            <p:cNvPr id="15" name="円/楕円 50">
              <a:extLst>
                <a:ext uri="{FF2B5EF4-FFF2-40B4-BE49-F238E27FC236}">
                  <a16:creationId xmlns:a16="http://schemas.microsoft.com/office/drawing/2014/main" id="{0DC3062E-1DC3-E3A8-9184-FAE619527CEF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11FDCEB0-AC90-8F11-1422-389DD53AC489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27417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6" name="直線コネクタ 5"/>
          <p:cNvCxnSpPr>
            <a:cxnSpLocks/>
          </p:cNvCxnSpPr>
          <p:nvPr/>
        </p:nvCxnSpPr>
        <p:spPr>
          <a:xfrm>
            <a:off x="1690311" y="3717032"/>
            <a:ext cx="7202169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547664" y="198765"/>
            <a:ext cx="6840000" cy="668029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638" algn="l"/>
              </a:tabLst>
            </a:pPr>
            <a:r>
              <a:rPr lang="ja-JP" altLang="en-US" sz="2400" b="1" spc="-3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  １．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電話のかけ方</a:t>
            </a:r>
            <a:endParaRPr lang="en-US" altLang="ja-JP" sz="2400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番号を直接入力して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4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着信履歴を使って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6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Ｃ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帳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（連絡先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から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7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Ｄ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の受け方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8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Ｅ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不在着信のあった場合のかけ直し方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9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新しく連絡先を登録す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0</a:t>
            </a: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-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Ｇ 着信履歴に残っていた通話先を登録する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1</a:t>
            </a: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　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1-H 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電話リレーサービスとは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2</a:t>
            </a: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   １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-I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電話リレーサービスの詳細・登録方法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3</a:t>
            </a: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endParaRPr lang="en-US" altLang="ja-JP" sz="2400" b="1" spc="-150" dirty="0">
              <a:solidFill>
                <a:srgbClr val="009650"/>
              </a:solidFill>
              <a:latin typeface="Meiryo"/>
              <a:ea typeface="Meiryo"/>
              <a:cs typeface="Meiryo" charset="-128"/>
            </a:endParaRPr>
          </a:p>
          <a:p>
            <a:pPr marL="273050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sz="2400" b="1" spc="-1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2</a:t>
            </a:r>
            <a:r>
              <a:rPr lang="ja-JP" altLang="en-US" sz="2400" b="1" spc="-1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．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カメラの使い方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1200"/>
              </a:spcAft>
              <a:tabLst>
                <a:tab pos="528638" algn="l"/>
              </a:tabLst>
            </a:pPr>
            <a:r>
              <a:rPr lang="en-US" altLang="ja-JP" b="1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	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2-A 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写真を撮ろう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5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B	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自撮りをしてみよう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6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C	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さまざまな操作機能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</a:t>
            </a:r>
            <a:r>
              <a:rPr lang="en-US" b="1" dirty="0">
                <a:latin typeface="Meiryo"/>
                <a:ea typeface="Meiryo"/>
                <a:cs typeface="Meiryo" charset="-128"/>
              </a:rPr>
              <a:t>…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</a:t>
            </a:r>
            <a:r>
              <a:rPr lang="en-US" b="1" dirty="0">
                <a:latin typeface="Meiryo"/>
                <a:ea typeface="Meiryo"/>
                <a:cs typeface="Meiryo" charset="-128"/>
              </a:rPr>
              <a:t>…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7</a:t>
            </a:r>
            <a:endParaRPr lang="en-US" dirty="0"/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D	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撮った写真を見る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8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E	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写真の削除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9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ja-JP" altLang="en-US" sz="2000" b="1" dirty="0">
                <a:latin typeface="Meiryo"/>
                <a:ea typeface="Meiryo"/>
                <a:cs typeface="Meiryo" charset="-128"/>
              </a:rPr>
              <a:t>　　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2-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Ｆ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	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ＱＲコードの読み取り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20</a:t>
            </a: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0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A2A8D88-87E6-F0DC-49CF-12B1A72DAD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313" y="2657347"/>
            <a:ext cx="1642535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Picture 2">
            <a:extLst>
              <a:ext uri="{FF2B5EF4-FFF2-40B4-BE49-F238E27FC236}">
                <a16:creationId xmlns:a16="http://schemas.microsoft.com/office/drawing/2014/main" id="{4F429CC0-8061-59E0-0702-EF603134E7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4873" y="2648576"/>
            <a:ext cx="1642535" cy="3409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B51DEB92-2D06-48E3-B25A-1E5779F283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4288353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lang="ja-JP" altLang="en-US" dirty="0"/>
              <a:t>ＱＲコードの読み取り</a:t>
            </a:r>
            <a:endParaRPr kumimoji="0" lang="ja-JP" altLang="en-US" kern="0" dirty="0">
              <a:latin typeface="Meiryo"/>
              <a:ea typeface="Meiryo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F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en-US" altLang="ja-JP" dirty="0"/>
              <a:t>QR</a:t>
            </a:r>
            <a:r>
              <a:rPr lang="ja-JP" altLang="en-US" dirty="0"/>
              <a:t>コードを読み取る方法で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570244"/>
            <a:chOff x="883255" y="1537092"/>
            <a:chExt cx="7956676" cy="57024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カメラ機能を起動し、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枠内に</a:t>
              </a:r>
              <a:r>
                <a:rPr lang="en-US" altLang="ja-JP" sz="1500" b="1" dirty="0">
                  <a:latin typeface="メイリオ"/>
                  <a:ea typeface="メイリオ"/>
                </a:rPr>
                <a:t>QR</a:t>
              </a:r>
              <a:r>
                <a:rPr lang="ja-JP" altLang="en-US" sz="1500" b="1" dirty="0">
                  <a:latin typeface="メイリオ"/>
                  <a:ea typeface="メイリオ"/>
                </a:rPr>
                <a:t>コードを収める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3" y="1552018"/>
              <a:ext cx="2390224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画面上部に現れる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表示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52322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/>
                  <a:ea typeface="メイリオ"/>
                </a:rPr>
                <a:t>押した後に、</a:t>
              </a:r>
              <a:endParaRPr lang="en-US" altLang="ja-JP" sz="1400" b="1" dirty="0">
                <a:latin typeface="メイリオ"/>
                <a:ea typeface="メイリオ"/>
              </a:endParaRPr>
            </a:p>
            <a:p>
              <a:r>
                <a:rPr lang="ja-JP" altLang="en-US" sz="1400" b="1" dirty="0">
                  <a:latin typeface="メイリオ"/>
                  <a:ea typeface="メイリオ"/>
                </a:rPr>
                <a:t>画面が切り替われば成功</a:t>
              </a:r>
              <a:endParaRPr lang="en-US" altLang="ja-JP" sz="14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3801677" y="2830606"/>
            <a:ext cx="1508926" cy="35525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822DA096-535D-B80F-38EA-670F189E7EC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25" name="図 10">
            <a:extLst>
              <a:ext uri="{FF2B5EF4-FFF2-40B4-BE49-F238E27FC236}">
                <a16:creationId xmlns:a16="http://schemas.microsoft.com/office/drawing/2014/main" id="{0BC03AFD-E64E-D41D-EA31-84782692B28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2C5D3D97-847A-70EF-40E8-9831764D2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805" y="2763071"/>
            <a:ext cx="1515999" cy="314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2219059" y="5083311"/>
            <a:ext cx="305480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FF054F0-5770-EA34-6751-982E491C0B4D}"/>
              </a:ext>
            </a:extLst>
          </p:cNvPr>
          <p:cNvSpPr txBox="1"/>
          <p:nvPr/>
        </p:nvSpPr>
        <p:spPr>
          <a:xfrm>
            <a:off x="4972853" y="1506251"/>
            <a:ext cx="3847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機種によって方法が異なります</a:t>
            </a:r>
          </a:p>
        </p:txBody>
      </p:sp>
    </p:spTree>
    <p:extLst>
      <p:ext uri="{BB962C8B-B14F-4D97-AF65-F5344CB8AC3E}">
        <p14:creationId xmlns:p14="http://schemas.microsoft.com/office/powerpoint/2010/main" val="10220028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47664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電話のかけ方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4" name="Picture 2" descr="電話をかけている人のイラスト">
            <a:extLst>
              <a:ext uri="{FF2B5EF4-FFF2-40B4-BE49-F238E27FC236}">
                <a16:creationId xmlns:a16="http://schemas.microsoft.com/office/drawing/2014/main" id="{F7FE10B5-09FF-41D6-9BBB-760BD81809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21" y="4200306"/>
            <a:ext cx="1230779" cy="179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0BB31624-BAB7-0A3A-5892-628ED7A24C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4872" y="2653358"/>
            <a:ext cx="1642826" cy="340981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E4F180E8-86FB-9AB2-B12D-11BD9A3795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電話番号を直接入力してかけ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A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9" name="図 28">
            <a:extLst>
              <a:ext uri="{FF2B5EF4-FFF2-40B4-BE49-F238E27FC236}">
                <a16:creationId xmlns:a16="http://schemas.microsoft.com/office/drawing/2014/main" id="{FA302448-9410-06E1-179F-1A18A3551E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9" name="図 10">
            <a:extLst>
              <a:ext uri="{FF2B5EF4-FFF2-40B4-BE49-F238E27FC236}">
                <a16:creationId xmlns:a16="http://schemas.microsoft.com/office/drawing/2014/main" id="{7C5C6B2D-984A-4A78-1B54-C7B446045ED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pic>
        <p:nvPicPr>
          <p:cNvPr id="5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6DC01101-0D37-01B0-95BC-04EACF1AEA6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49549" y="2761897"/>
            <a:ext cx="1534337" cy="3204117"/>
          </a:xfrm>
          <a:prstGeom prst="rect">
            <a:avLst/>
          </a:prstGeom>
        </p:spPr>
      </p:pic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87450"/>
            <a:ext cx="7956676" cy="558400"/>
            <a:chOff x="883255" y="1552018"/>
            <a:chExt cx="7956676" cy="558400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「受話器」の形の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アイコンを押し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365415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画面下部に出てくる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キーパッド　　　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56420"/>
              <a:ext cx="2365415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電話番号を押して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入力し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115616" y="5109286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5027658" y="5244035"/>
            <a:ext cx="360040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9" name="図 48" descr="挿絵 が含まれている画像&#10;&#10;自動的に生成された説明">
            <a:extLst>
              <a:ext uri="{FF2B5EF4-FFF2-40B4-BE49-F238E27FC236}">
                <a16:creationId xmlns:a16="http://schemas.microsoft.com/office/drawing/2014/main" id="{73DC8C27-9A65-BF37-0B73-A5D30D1C209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65583" y="2246059"/>
            <a:ext cx="364985" cy="361667"/>
          </a:xfrm>
          <a:prstGeom prst="rect">
            <a:avLst/>
          </a:prstGeom>
        </p:spPr>
      </p:pic>
      <p:pic>
        <p:nvPicPr>
          <p:cNvPr id="51" name="図 5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9566FFB4-AAFF-7BD7-DFEC-86821F491EC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10510" y="2653358"/>
            <a:ext cx="1642827" cy="175234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151903" y="4061789"/>
            <a:ext cx="360040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3" name="四角形: 角を丸くする 52">
            <a:extLst>
              <a:ext uri="{FF2B5EF4-FFF2-40B4-BE49-F238E27FC236}">
                <a16:creationId xmlns:a16="http://schemas.microsoft.com/office/drawing/2014/main" id="{93FEED1B-D6A5-0248-0738-C89FD8ECFDCE}"/>
              </a:ext>
            </a:extLst>
          </p:cNvPr>
          <p:cNvSpPr/>
          <p:nvPr/>
        </p:nvSpPr>
        <p:spPr>
          <a:xfrm>
            <a:off x="6510510" y="2887727"/>
            <a:ext cx="1642827" cy="117406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348BED28-81CF-E4D5-BC84-DDBA85E309FA}"/>
              </a:ext>
            </a:extLst>
          </p:cNvPr>
          <p:cNvSpPr txBox="1"/>
          <p:nvPr/>
        </p:nvSpPr>
        <p:spPr>
          <a:xfrm>
            <a:off x="5925824" y="471181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5" name="テキスト ボックス 54">
            <a:extLst>
              <a:ext uri="{FF2B5EF4-FFF2-40B4-BE49-F238E27FC236}">
                <a16:creationId xmlns:a16="http://schemas.microsoft.com/office/drawing/2014/main" id="{DBBF5311-5A5A-B04E-0A83-5EF241D8F6E5}"/>
              </a:ext>
            </a:extLst>
          </p:cNvPr>
          <p:cNvSpPr txBox="1"/>
          <p:nvPr/>
        </p:nvSpPr>
        <p:spPr>
          <a:xfrm>
            <a:off x="6349955" y="4825826"/>
            <a:ext cx="270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番号を入力後</a:t>
            </a: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緑色の受話器マークを</a:t>
            </a: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発信します</a:t>
            </a:r>
          </a:p>
        </p:txBody>
      </p:sp>
      <p:sp>
        <p:nvSpPr>
          <p:cNvPr id="11" name="字幕 14">
            <a:extLst>
              <a:ext uri="{FF2B5EF4-FFF2-40B4-BE49-F238E27FC236}">
                <a16:creationId xmlns:a16="http://schemas.microsoft.com/office/drawing/2014/main" id="{22CD7B59-2C66-6C94-347F-9A716B2F9CC2}"/>
              </a:ext>
            </a:extLst>
          </p:cNvPr>
          <p:cNvSpPr txBox="1">
            <a:spLocks/>
          </p:cNvSpPr>
          <p:nvPr/>
        </p:nvSpPr>
        <p:spPr>
          <a:xfrm>
            <a:off x="507804" y="1484824"/>
            <a:ext cx="8384676" cy="360000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2800" dirty="0"/>
              <a:t>番号を入力してかける方法です。</a:t>
            </a:r>
          </a:p>
          <a:p>
            <a:endParaRPr lang="ja-JP" altLang="en-US" sz="2800" dirty="0"/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534047" y="1344124"/>
            <a:ext cx="355294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機種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Xperia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100" b="1" dirty="0" err="1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ceⅢ</a:t>
            </a:r>
            <a:endParaRPr lang="en-US" altLang="ja-JP" sz="11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対応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OS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ndroid12</a:t>
            </a: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アプリのバージョン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23.0</a:t>
            </a:r>
          </a:p>
        </p:txBody>
      </p:sp>
    </p:spTree>
    <p:extLst>
      <p:ext uri="{BB962C8B-B14F-4D97-AF65-F5344CB8AC3E}">
        <p14:creationId xmlns:p14="http://schemas.microsoft.com/office/powerpoint/2010/main" val="3861260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>
            <a:extLst>
              <a:ext uri="{FF2B5EF4-FFF2-40B4-BE49-F238E27FC236}">
                <a16:creationId xmlns:a16="http://schemas.microsoft.com/office/drawing/2014/main" id="{6852188A-F40C-39D3-7581-432C9B5AF4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942" y="2608617"/>
            <a:ext cx="1751397" cy="363516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>
            <a:extLst>
              <a:ext uri="{FF2B5EF4-FFF2-40B4-BE49-F238E27FC236}">
                <a16:creationId xmlns:a16="http://schemas.microsoft.com/office/drawing/2014/main" id="{8A12041B-E69B-443A-815F-2779A5E8A9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2646" y="2601864"/>
            <a:ext cx="1751397" cy="363516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grpSp>
        <p:nvGrpSpPr>
          <p:cNvPr id="61" name="グループ化 60">
            <a:extLst>
              <a:ext uri="{FF2B5EF4-FFF2-40B4-BE49-F238E27FC236}">
                <a16:creationId xmlns:a16="http://schemas.microsoft.com/office/drawing/2014/main" id="{63E110D4-4D58-F8C8-A47C-E0F9C8C085C2}"/>
              </a:ext>
            </a:extLst>
          </p:cNvPr>
          <p:cNvGrpSpPr/>
          <p:nvPr/>
        </p:nvGrpSpPr>
        <p:grpSpPr>
          <a:xfrm>
            <a:off x="1390692" y="1932294"/>
            <a:ext cx="7194457" cy="584776"/>
            <a:chOff x="1441887" y="1932294"/>
            <a:chExt cx="7194457" cy="584776"/>
          </a:xfrm>
        </p:grpSpPr>
        <p:sp>
          <p:nvSpPr>
            <p:cNvPr id="50" name="テキスト ボックス 49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5757961" y="1932294"/>
              <a:ext cx="2878383" cy="58477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600" b="1" dirty="0">
                  <a:latin typeface="メイリオ"/>
                  <a:ea typeface="メイリオ"/>
                </a:rPr>
                <a:t>電話を切る時は赤い受話器の</a:t>
              </a:r>
              <a:endParaRPr lang="en-US" altLang="ja-JP" sz="1600" b="1" dirty="0">
                <a:latin typeface="メイリオ"/>
                <a:ea typeface="メイリオ"/>
              </a:endParaRPr>
            </a:p>
            <a:p>
              <a:r>
                <a:rPr lang="ja-JP" altLang="en-US" sz="16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アイコンをタップして下さい</a:t>
              </a:r>
            </a:p>
          </p:txBody>
        </p:sp>
        <p:sp>
          <p:nvSpPr>
            <p:cNvPr id="49" name="テキスト ボックス 48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1441887" y="1932295"/>
              <a:ext cx="346723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b="1" kern="100" dirty="0">
                  <a:latin typeface="メイリオ" panose="020B0604030504040204" pitchFamily="50" charset="-128"/>
                  <a:ea typeface="メイリオ" panose="020B0604030504040204" pitchFamily="50" charset="-128"/>
                  <a:cs typeface="Times New Roman" panose="02020603050405020304" pitchFamily="18" charset="0"/>
                </a:rPr>
                <a:t>「接続しています」が時間の表示</a:t>
              </a:r>
              <a:endPara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endParaRPr>
            </a:p>
            <a:p>
              <a:r>
                <a:rPr lang="ja-JP" altLang="en-US" sz="1600" b="1" kern="100" dirty="0">
                  <a:latin typeface="メイリオ" panose="020B0604030504040204" pitchFamily="50" charset="-128"/>
                  <a:ea typeface="メイリオ" panose="020B0604030504040204" pitchFamily="50" charset="-128"/>
                  <a:cs typeface="Times New Roman" panose="02020603050405020304" pitchFamily="18" charset="0"/>
                </a:rPr>
                <a:t>になると電話がつながります</a:t>
              </a:r>
              <a:endPara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endParaRPr>
            </a:p>
          </p:txBody>
        </p:sp>
      </p:grp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4125425" y="4728725"/>
            <a:ext cx="893150" cy="514215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F0F40C9D-5BA2-095A-EE39-C40325EAB672}"/>
              </a:ext>
            </a:extLst>
          </p:cNvPr>
          <p:cNvSpPr/>
          <p:nvPr/>
        </p:nvSpPr>
        <p:spPr>
          <a:xfrm>
            <a:off x="2063756" y="3203037"/>
            <a:ext cx="669175" cy="21602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4A190B05-2582-B658-358A-D989FD6A9C86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10953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電話番号を直接入力してかける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76B5740F-CFA8-82C7-E31C-F5F3F8E1E80F}"/>
              </a:ext>
            </a:extLst>
          </p:cNvPr>
          <p:cNvSpPr txBox="1"/>
          <p:nvPr/>
        </p:nvSpPr>
        <p:spPr>
          <a:xfrm>
            <a:off x="837606" y="187325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F13BF853-63CA-560E-A9DD-0B15F68E8B0E}"/>
              </a:ext>
            </a:extLst>
          </p:cNvPr>
          <p:cNvSpPr txBox="1"/>
          <p:nvPr/>
        </p:nvSpPr>
        <p:spPr>
          <a:xfrm>
            <a:off x="5081847" y="190249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9B721123-D541-CDDE-AF4C-86E36FE25BD8}"/>
              </a:ext>
            </a:extLst>
          </p:cNvPr>
          <p:cNvSpPr/>
          <p:nvPr/>
        </p:nvSpPr>
        <p:spPr>
          <a:xfrm>
            <a:off x="6577122" y="5529485"/>
            <a:ext cx="353933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6AA77FA5-E5CF-F039-5355-411DAE8DDD1F}"/>
              </a:ext>
            </a:extLst>
          </p:cNvPr>
          <p:cNvSpPr txBox="1"/>
          <p:nvPr/>
        </p:nvSpPr>
        <p:spPr>
          <a:xfrm>
            <a:off x="3545178" y="3328745"/>
            <a:ext cx="215104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＊スピーカーモードを使うと、音声が本体下部のスピーカーから発せられるため、スマートフォン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から耳を離して通話</a:t>
            </a:r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ができます。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6D78B6D3-0533-6088-DAA8-8C73EC97C379}"/>
              </a:ext>
            </a:extLst>
          </p:cNvPr>
          <p:cNvSpPr/>
          <p:nvPr/>
        </p:nvSpPr>
        <p:spPr>
          <a:xfrm>
            <a:off x="7145957" y="4075288"/>
            <a:ext cx="378371" cy="51496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6BA91FF0-CD01-AAD2-2A69-78FF3E4761B6}"/>
              </a:ext>
            </a:extLst>
          </p:cNvPr>
          <p:cNvCxnSpPr>
            <a:cxnSpLocks/>
          </p:cNvCxnSpPr>
          <p:nvPr/>
        </p:nvCxnSpPr>
        <p:spPr>
          <a:xfrm flipH="1">
            <a:off x="5706766" y="4365104"/>
            <a:ext cx="1439191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字幕 14">
            <a:extLst>
              <a:ext uri="{FF2B5EF4-FFF2-40B4-BE49-F238E27FC236}">
                <a16:creationId xmlns:a16="http://schemas.microsoft.com/office/drawing/2014/main" id="{1301F337-59A6-D6B3-6818-D81757B5D6FB}"/>
              </a:ext>
            </a:extLst>
          </p:cNvPr>
          <p:cNvSpPr txBox="1">
            <a:spLocks/>
          </p:cNvSpPr>
          <p:nvPr/>
        </p:nvSpPr>
        <p:spPr>
          <a:xfrm>
            <a:off x="507804" y="1484824"/>
            <a:ext cx="8384676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dirty="0">
                <a:solidFill>
                  <a:srgbClr val="009650"/>
                </a:solidFill>
              </a:rPr>
              <a:t>※</a:t>
            </a:r>
            <a:r>
              <a:rPr lang="ja-JP" altLang="en-US" dirty="0">
                <a:solidFill>
                  <a:srgbClr val="009650"/>
                </a:solidFill>
              </a:rPr>
              <a:t>表示については各メーカーによって異なります。</a:t>
            </a:r>
          </a:p>
        </p:txBody>
      </p:sp>
    </p:spTree>
    <p:extLst>
      <p:ext uri="{BB962C8B-B14F-4D97-AF65-F5344CB8AC3E}">
        <p14:creationId xmlns:p14="http://schemas.microsoft.com/office/powerpoint/2010/main" val="24078117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>
            <a:extLst>
              <a:ext uri="{FF2B5EF4-FFF2-40B4-BE49-F238E27FC236}">
                <a16:creationId xmlns:a16="http://schemas.microsoft.com/office/drawing/2014/main" id="{A593280E-FAF8-EA36-8FF5-237D527B6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548" y="2662753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D2BF2104-906A-86B5-2E27-6654C357F1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834" y="2653358"/>
            <a:ext cx="1642826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E4F180E8-86FB-9AB2-B12D-11BD9A3795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着信履歴を使ってかけ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B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9" name="図 28">
            <a:extLst>
              <a:ext uri="{FF2B5EF4-FFF2-40B4-BE49-F238E27FC236}">
                <a16:creationId xmlns:a16="http://schemas.microsoft.com/office/drawing/2014/main" id="{FA302448-9410-06E1-179F-1A18A3551EC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9" name="図 10">
            <a:extLst>
              <a:ext uri="{FF2B5EF4-FFF2-40B4-BE49-F238E27FC236}">
                <a16:creationId xmlns:a16="http://schemas.microsoft.com/office/drawing/2014/main" id="{7C5C6B2D-984A-4A78-1B54-C7B446045ED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pic>
        <p:nvPicPr>
          <p:cNvPr id="5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6DC01101-0D37-01B0-95BC-04EACF1AEA6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49549" y="2761897"/>
            <a:ext cx="1534337" cy="3204117"/>
          </a:xfrm>
          <a:prstGeom prst="rect">
            <a:avLst/>
          </a:prstGeom>
        </p:spPr>
      </p:pic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800" dirty="0"/>
              <a:t>いままで来た着信履歴を使ってかける方法です。</a:t>
            </a:r>
          </a:p>
          <a:p>
            <a:endParaRPr lang="ja-JP" altLang="en-US" sz="2800" dirty="0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738664"/>
            <a:chOff x="883255" y="1537092"/>
            <a:chExt cx="7956676" cy="73866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「受話器」の形の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アイコンを押し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着信履歴（時計のマーク）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　　　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かけたい相手の横の</a:t>
              </a:r>
              <a:endPara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受話器のマーク　　を</a:t>
              </a:r>
              <a:endPara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押せば電話がかかり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115616" y="5109286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380227" y="5604075"/>
            <a:ext cx="360040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794808" y="3213121"/>
            <a:ext cx="360040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3" name="四角形: 角を丸くする 52">
            <a:extLst>
              <a:ext uri="{FF2B5EF4-FFF2-40B4-BE49-F238E27FC236}">
                <a16:creationId xmlns:a16="http://schemas.microsoft.com/office/drawing/2014/main" id="{93FEED1B-D6A5-0248-0738-C89FD8ECFDCE}"/>
              </a:ext>
            </a:extLst>
          </p:cNvPr>
          <p:cNvSpPr/>
          <p:nvPr/>
        </p:nvSpPr>
        <p:spPr>
          <a:xfrm>
            <a:off x="6527279" y="3213121"/>
            <a:ext cx="1627569" cy="35989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7890AF68-4214-4AE2-D449-461DEAB9E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0300" y="2264449"/>
            <a:ext cx="433093" cy="317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9D676B6A-8B5D-945F-C539-EC9F9FD7C6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86813">
            <a:off x="7886148" y="2207354"/>
            <a:ext cx="201781" cy="201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5394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>
            <a:extLst>
              <a:ext uri="{FF2B5EF4-FFF2-40B4-BE49-F238E27FC236}">
                <a16:creationId xmlns:a16="http://schemas.microsoft.com/office/drawing/2014/main" id="{634EC320-E194-1D50-3FE5-8D7AC3ACBD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480" y="2653358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E287269D-5D66-69E6-FEA8-E02CE0F599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29" y="2653358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D2BF2104-906A-86B5-2E27-6654C357F1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834" y="2653358"/>
            <a:ext cx="1642826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5519460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電話帳（連絡先）からかけ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C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800" dirty="0"/>
              <a:t>電話帳（連絡先）からかける方法です。</a:t>
            </a:r>
          </a:p>
          <a:p>
            <a:endParaRPr lang="ja-JP" altLang="en-US" sz="2800" dirty="0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738664"/>
            <a:chOff x="883255" y="1537092"/>
            <a:chExt cx="7956676" cy="73866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電話の機能を起動し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連絡先　　を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かけたい相手の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名前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表示された電話番号横の</a:t>
              </a:r>
              <a:endPara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受話器のマーク　　を</a:t>
              </a:r>
              <a:endPara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押せば電話がかかり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2219059" y="5598401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011845" y="4509120"/>
            <a:ext cx="776179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6528125" y="4473301"/>
            <a:ext cx="276123" cy="30901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9D676B6A-8B5D-945F-C539-EC9F9FD7C6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86813">
            <a:off x="7886148" y="2207354"/>
            <a:ext cx="201781" cy="201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A24CECB0-8E55-1D69-81F7-AAA4688BC5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4005" y="2283727"/>
            <a:ext cx="288364" cy="268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9AF9B31-18F7-CBEE-8E1E-22C41F919D83}"/>
              </a:ext>
            </a:extLst>
          </p:cNvPr>
          <p:cNvSpPr txBox="1"/>
          <p:nvPr/>
        </p:nvSpPr>
        <p:spPr>
          <a:xfrm>
            <a:off x="6830736" y="4546225"/>
            <a:ext cx="827048" cy="1846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ja-JP" altLang="en-US" sz="600" dirty="0">
                <a:latin typeface="Meiryo"/>
                <a:ea typeface="Meiryo"/>
                <a:cs typeface="Calibri"/>
              </a:rPr>
              <a:t>03-1234-5678</a:t>
            </a:r>
          </a:p>
        </p:txBody>
      </p:sp>
    </p:spTree>
    <p:extLst>
      <p:ext uri="{BB962C8B-B14F-4D97-AF65-F5344CB8AC3E}">
        <p14:creationId xmlns:p14="http://schemas.microsoft.com/office/powerpoint/2010/main" val="36762090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0CCFD8DB-EB7A-A48E-9F84-81C4836CA623}"/>
              </a:ext>
            </a:extLst>
          </p:cNvPr>
          <p:cNvSpPr txBox="1"/>
          <p:nvPr/>
        </p:nvSpPr>
        <p:spPr>
          <a:xfrm>
            <a:off x="516244" y="1461371"/>
            <a:ext cx="3407683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マートフォンを操作中に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がかかってきたら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緑色の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に出る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せば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に出られます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リープモードの時に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かかってきたら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緑色の受話器マークを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上にスライドすると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に出られま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機種によって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②の画面時に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「メッセージを送信」の表示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がでる場合もあります。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2070" name="Picture 22">
            <a:extLst>
              <a:ext uri="{FF2B5EF4-FFF2-40B4-BE49-F238E27FC236}">
                <a16:creationId xmlns:a16="http://schemas.microsoft.com/office/drawing/2014/main" id="{E5C9717C-A5DC-8964-C23C-7332B420E8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480" y="2653358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710015B3-6E04-0140-93D8-5DD8B7AEE1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834" y="2653358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264687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電話の受け方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D</a:t>
            </a:r>
            <a:endParaRPr lang="en-US" sz="3600" dirty="0"/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364921" y="3155803"/>
            <a:ext cx="462454" cy="20118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092280" y="5278410"/>
            <a:ext cx="504056" cy="46105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AutoShape 14">
            <a:extLst>
              <a:ext uri="{FF2B5EF4-FFF2-40B4-BE49-F238E27FC236}">
                <a16:creationId xmlns:a16="http://schemas.microsoft.com/office/drawing/2014/main" id="{B24124BC-3892-4D11-46F4-B45039F458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933700" y="28575"/>
            <a:ext cx="3276600" cy="6800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17" name="AutoShape 16">
            <a:extLst>
              <a:ext uri="{FF2B5EF4-FFF2-40B4-BE49-F238E27FC236}">
                <a16:creationId xmlns:a16="http://schemas.microsoft.com/office/drawing/2014/main" id="{328E2024-3B35-AA1A-55F2-187D22E93A2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086100" y="1790219"/>
            <a:ext cx="2501278" cy="5191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726C65C-BF20-59BE-0B77-EC9E396228C1}"/>
              </a:ext>
            </a:extLst>
          </p:cNvPr>
          <p:cNvSpPr txBox="1"/>
          <p:nvPr/>
        </p:nvSpPr>
        <p:spPr>
          <a:xfrm>
            <a:off x="4972853" y="1506251"/>
            <a:ext cx="3847619" cy="373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によって表記が異なります</a:t>
            </a: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50C0AFF5-F956-09F1-5A8E-496E696DB337}"/>
              </a:ext>
            </a:extLst>
          </p:cNvPr>
          <p:cNvSpPr txBox="1"/>
          <p:nvPr/>
        </p:nvSpPr>
        <p:spPr>
          <a:xfrm>
            <a:off x="3310214" y="6082312"/>
            <a:ext cx="27971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によって「応答」表記の場合あり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61B9FB2E-D8D4-0581-35BA-95A130A37AC1}"/>
              </a:ext>
            </a:extLst>
          </p:cNvPr>
          <p:cNvSpPr txBox="1"/>
          <p:nvPr/>
        </p:nvSpPr>
        <p:spPr>
          <a:xfrm>
            <a:off x="7236529" y="3341226"/>
            <a:ext cx="859578" cy="18466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ja-JP" altLang="en-US" sz="600" dirty="0">
                <a:latin typeface="Meiryo UI"/>
                <a:ea typeface="Meiryo UI"/>
              </a:rPr>
              <a:t>03-1234-5678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C3865B10-E7BC-29C1-346A-8988FF5BE91B}"/>
              </a:ext>
            </a:extLst>
          </p:cNvPr>
          <p:cNvSpPr txBox="1"/>
          <p:nvPr/>
        </p:nvSpPr>
        <p:spPr>
          <a:xfrm>
            <a:off x="6029868" y="2223033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88745B38-955B-2EF8-3AD5-7C6B6F683B42}"/>
              </a:ext>
            </a:extLst>
          </p:cNvPr>
          <p:cNvSpPr txBox="1"/>
          <p:nvPr/>
        </p:nvSpPr>
        <p:spPr>
          <a:xfrm>
            <a:off x="3311744" y="222221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013307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0" name="Picture 8">
            <a:extLst>
              <a:ext uri="{FF2B5EF4-FFF2-40B4-BE49-F238E27FC236}">
                <a16:creationId xmlns:a16="http://schemas.microsoft.com/office/drawing/2014/main" id="{F015DB6A-4425-6F2C-2693-9AE76D73AF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313" y="2654042"/>
            <a:ext cx="1642535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D8DF7E57-8AC0-5C7B-D05B-756BE531D9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1324" y="2648577"/>
            <a:ext cx="1642535" cy="340981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B51DEB92-2D06-48E3-B25A-1E5779F283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675056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不在着信のあった場合のかけ直し方</a:t>
            </a:r>
            <a:endParaRPr kumimoji="0" lang="ja-JP" altLang="en-US" kern="0" dirty="0">
              <a:latin typeface="Meiryo"/>
              <a:ea typeface="Meiryo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E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不在着信の相手にかけなおす方法で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570244"/>
            <a:chOff x="883255" y="1537092"/>
            <a:chExt cx="7956676" cy="57024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「電話」アイコンを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3" y="1552018"/>
              <a:ext cx="2390224" cy="3231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「通話履歴」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52322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/>
                  <a:ea typeface="メイリオ"/>
                </a:rPr>
                <a:t>不在着信内容を確認して</a:t>
              </a:r>
              <a:endParaRPr lang="en-US" altLang="ja-JP" sz="1400" b="1" dirty="0">
                <a:latin typeface="メイリオ"/>
                <a:ea typeface="メイリオ"/>
              </a:endParaRPr>
            </a:p>
            <a:p>
              <a:r>
                <a:rPr lang="ja-JP" altLang="en-US" sz="1400" b="1" dirty="0">
                  <a:latin typeface="メイリオ"/>
                  <a:ea typeface="メイリオ"/>
                </a:rPr>
                <a:t>真横の受話器ボタンを押す</a:t>
              </a:r>
              <a:endParaRPr lang="en-US" altLang="ja-JP" sz="14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380018" y="5602782"/>
            <a:ext cx="358614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814508" y="3279160"/>
            <a:ext cx="266438" cy="23700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6502443" y="3245879"/>
            <a:ext cx="1238163" cy="2916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822DA096-535D-B80F-38EA-670F189E7EC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25" name="図 10">
            <a:extLst>
              <a:ext uri="{FF2B5EF4-FFF2-40B4-BE49-F238E27FC236}">
                <a16:creationId xmlns:a16="http://schemas.microsoft.com/office/drawing/2014/main" id="{0BC03AFD-E64E-D41D-EA31-84782692B28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2C5D3D97-847A-70EF-40E8-9831764D2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805" y="2763071"/>
            <a:ext cx="1515999" cy="314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119536" y="5062227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6878517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FC5EA13524B040B8FB4A24C9C48CB1" ma:contentTypeVersion="1" ma:contentTypeDescription="Create a new document." ma:contentTypeScope="" ma:versionID="128d723f0e7cd1d097b8ec7dd37d6063">
  <xsd:schema xmlns:xsd="http://www.w3.org/2001/XMLSchema" xmlns:xs="http://www.w3.org/2001/XMLSchema" xmlns:p="http://schemas.microsoft.com/office/2006/metadata/properties" xmlns:ns2="1c316a70-1c3f-4244-a711-26590f222ff0" targetNamespace="http://schemas.microsoft.com/office/2006/metadata/properties" ma:root="true" ma:fieldsID="e308ae570fd73c0fe621d1b6db3dc176" ns2:_="">
    <xsd:import namespace="1c316a70-1c3f-4244-a711-26590f222ff0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316a70-1c3f-4244-a711-26590f222ff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9E89BB-BD4E-420A-B282-DFBC2E5EEED0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deba4b51-64a5-4b77-ab7f-812b7f55eafa"/>
    <ds:schemaRef ds:uri="http://www.w3.org/XML/1998/namespace"/>
    <ds:schemaRef ds:uri="http://purl.org/dc/dcmitype/"/>
    <ds:schemaRef ds:uri="f76e264c-1dae-49a6-9e2d-2d1e2f2d3ceb"/>
    <ds:schemaRef ds:uri="d918bb13-3424-4586-993b-46f0e11e56be"/>
  </ds:schemaRefs>
</ds:datastoreItem>
</file>

<file path=customXml/itemProps2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0BCB5FC-71F5-4240-9E33-448089AC3BBE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286</Words>
  <Application>Microsoft Office PowerPoint</Application>
  <PresentationFormat>画面に合わせる (4:3)</PresentationFormat>
  <Paragraphs>272</Paragraphs>
  <Slides>20</Slides>
  <Notes>2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1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0</vt:i4>
      </vt:variant>
    </vt:vector>
  </HeadingPairs>
  <TitlesOfParts>
    <vt:vector size="33" baseType="lpstr">
      <vt:lpstr>AoyagiKouzanFontT</vt:lpstr>
      <vt:lpstr>Meiryo UI</vt:lpstr>
      <vt:lpstr>メイリオ</vt:lpstr>
      <vt:lpstr>メイリオ</vt:lpstr>
      <vt:lpstr>游ゴシック</vt:lpstr>
      <vt:lpstr>游ゴシック</vt:lpstr>
      <vt:lpstr>游ゴシック Light</vt:lpstr>
      <vt:lpstr>Arial</vt:lpstr>
      <vt:lpstr>Calibri</vt:lpstr>
      <vt:lpstr>Calibri Light</vt:lpstr>
      <vt:lpstr>Times New Roman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電話のかけ方 電話番号を直接入力してかける</vt:lpstr>
      <vt:lpstr>電話のかけ方 電話番号を直接入力してかける</vt:lpstr>
      <vt:lpstr>電話のかけ方 着信履歴を使ってかける</vt:lpstr>
      <vt:lpstr>電話のかけ方 電話帳（連絡先）からかける</vt:lpstr>
      <vt:lpstr>電話のかけ方 電話の受け方</vt:lpstr>
      <vt:lpstr>電話のかけ方 不在着信のあった場合のかけ直し方</vt:lpstr>
      <vt:lpstr>電話のかけ方 新しく連絡先を登録する</vt:lpstr>
      <vt:lpstr>電話のかけ方 着信履歴に残った通話先を登録する</vt:lpstr>
      <vt:lpstr>電話のかけ方 電話リレーサービスとは</vt:lpstr>
      <vt:lpstr>電話のかけ方 電話リレーサービスの詳細･登録方法</vt:lpstr>
      <vt:lpstr>PowerPoint プレゼンテーション</vt:lpstr>
      <vt:lpstr>カメラの使い方 写真を撮ろう</vt:lpstr>
      <vt:lpstr>カメラの使い方 自撮りをしてみよう</vt:lpstr>
      <vt:lpstr>カメラの使い方 さまざまな操作機能</vt:lpstr>
      <vt:lpstr>カメラの使い方 撮った写真を見る</vt:lpstr>
      <vt:lpstr>カメラの使い方 写真の削除</vt:lpstr>
      <vt:lpstr>カメラの使い方 ＱＲコードの読み取り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551</cp:revision>
  <dcterms:created xsi:type="dcterms:W3CDTF">2021-08-16T09:05:36Z</dcterms:created>
  <dcterms:modified xsi:type="dcterms:W3CDTF">2024-05-10T01:3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FC5EA13524B040B8FB4A24C9C48CB1</vt:lpwstr>
  </property>
  <property fmtid="{D5CDD505-2E9C-101B-9397-08002B2CF9AE}" pid="3" name="MediaServiceImageTags">
    <vt:lpwstr/>
  </property>
  <property fmtid="{D5CDD505-2E9C-101B-9397-08002B2CF9AE}" pid="4" name="Order">
    <vt:r8>1110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_SourceUrl">
    <vt:lpwstr/>
  </property>
  <property fmtid="{D5CDD505-2E9C-101B-9397-08002B2CF9AE}" pid="10" name="_SharedFileIndex">
    <vt:lpwstr/>
  </property>
  <property fmtid="{D5CDD505-2E9C-101B-9397-08002B2CF9AE}" pid="11" name="ComplianceAssetId">
    <vt:lpwstr/>
  </property>
  <property fmtid="{D5CDD505-2E9C-101B-9397-08002B2CF9AE}" pid="12" name="TemplateUrl">
    <vt:lpwstr/>
  </property>
</Properties>
</file>